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1" r:id="rId2"/>
    <p:sldMasterId id="2147483751" r:id="rId3"/>
  </p:sldMasterIdLst>
  <p:notesMasterIdLst>
    <p:notesMasterId r:id="rId23"/>
  </p:notesMasterIdLst>
  <p:sldIdLst>
    <p:sldId id="2071590905" r:id="rId4"/>
    <p:sldId id="262" r:id="rId5"/>
    <p:sldId id="2071590916" r:id="rId6"/>
    <p:sldId id="261" r:id="rId7"/>
    <p:sldId id="351" r:id="rId8"/>
    <p:sldId id="341" r:id="rId9"/>
    <p:sldId id="342" r:id="rId10"/>
    <p:sldId id="343" r:id="rId11"/>
    <p:sldId id="344" r:id="rId12"/>
    <p:sldId id="349" r:id="rId13"/>
    <p:sldId id="352" r:id="rId14"/>
    <p:sldId id="2071590942" r:id="rId15"/>
    <p:sldId id="2071590908" r:id="rId16"/>
    <p:sldId id="2071590941" r:id="rId17"/>
    <p:sldId id="2071590927" r:id="rId18"/>
    <p:sldId id="2071590911" r:id="rId19"/>
    <p:sldId id="2071590929" r:id="rId20"/>
    <p:sldId id="280" r:id="rId21"/>
    <p:sldId id="2071590940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BA4316-1D26-4D56-AA05-8374A71EFA27}" v="1" dt="2021-11-16T21:50:38.6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6993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eeti" userId="9134a039-2d8d-452f-9ddb-005524309aa1" providerId="ADAL" clId="{2ABA4316-1D26-4D56-AA05-8374A71EFA27}"/>
    <pc:docChg chg="custSel addSld modSld">
      <pc:chgData name="Preeti" userId="9134a039-2d8d-452f-9ddb-005524309aa1" providerId="ADAL" clId="{2ABA4316-1D26-4D56-AA05-8374A71EFA27}" dt="2021-11-16T21:53:32.470" v="26" actId="14100"/>
      <pc:docMkLst>
        <pc:docMk/>
      </pc:docMkLst>
      <pc:sldChg chg="addSp delSp modSp new mod">
        <pc:chgData name="Preeti" userId="9134a039-2d8d-452f-9ddb-005524309aa1" providerId="ADAL" clId="{2ABA4316-1D26-4D56-AA05-8374A71EFA27}" dt="2021-11-16T21:53:32.470" v="26" actId="14100"/>
        <pc:sldMkLst>
          <pc:docMk/>
          <pc:sldMk cId="2776871066" sldId="2071590941"/>
        </pc:sldMkLst>
        <pc:spChg chg="mod">
          <ac:chgData name="Preeti" userId="9134a039-2d8d-452f-9ddb-005524309aa1" providerId="ADAL" clId="{2ABA4316-1D26-4D56-AA05-8374A71EFA27}" dt="2021-11-16T21:50:39.191" v="22" actId="20577"/>
          <ac:spMkLst>
            <pc:docMk/>
            <pc:sldMk cId="2776871066" sldId="2071590941"/>
            <ac:spMk id="2" creationId="{1D50160C-6BAA-4A8D-B99D-F63CA43AE0A2}"/>
          </ac:spMkLst>
        </pc:spChg>
        <pc:spChg chg="del">
          <ac:chgData name="Preeti" userId="9134a039-2d8d-452f-9ddb-005524309aa1" providerId="ADAL" clId="{2ABA4316-1D26-4D56-AA05-8374A71EFA27}" dt="2021-11-16T21:50:31.831" v="1" actId="22"/>
          <ac:spMkLst>
            <pc:docMk/>
            <pc:sldMk cId="2776871066" sldId="2071590941"/>
            <ac:spMk id="3" creationId="{CB4C2244-F6CC-4793-B948-DC409A0336DD}"/>
          </ac:spMkLst>
        </pc:spChg>
        <pc:picChg chg="add mod ord">
          <ac:chgData name="Preeti" userId="9134a039-2d8d-452f-9ddb-005524309aa1" providerId="ADAL" clId="{2ABA4316-1D26-4D56-AA05-8374A71EFA27}" dt="2021-11-16T21:50:33.406" v="2" actId="1076"/>
          <ac:picMkLst>
            <pc:docMk/>
            <pc:sldMk cId="2776871066" sldId="2071590941"/>
            <ac:picMk id="6" creationId="{72CB9A30-6CBB-4399-B669-7A2A8B6828A9}"/>
          </ac:picMkLst>
        </pc:picChg>
        <pc:picChg chg="add mod">
          <ac:chgData name="Preeti" userId="9134a039-2d8d-452f-9ddb-005524309aa1" providerId="ADAL" clId="{2ABA4316-1D26-4D56-AA05-8374A71EFA27}" dt="2021-11-16T21:53:32.470" v="26" actId="14100"/>
          <ac:picMkLst>
            <pc:docMk/>
            <pc:sldMk cId="2776871066" sldId="2071590941"/>
            <ac:picMk id="8" creationId="{05A375EA-7BFB-4DE4-9601-8C15CFDE0B77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4F6DB0-7DD5-4EDF-956F-EFF04B2BAC2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7005A3-1C87-4C24-BCAE-4EBCB26CB4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545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ast 1 of the following criteria should be met. 1. Evidence of progressive marrow failure as manifested by the development of, or worsening of, anemia and/or thrombocytopenia. Cutoff levels of Hb ,10 g/dL or platelet counts ,100 3 109/L are generally regarded as indication for treatment. However, in some patients, platelet counts ,100 3 109 /L may remain stable over a long period; this situation does not automatically require therapeutic intervention. </a:t>
            </a:r>
          </a:p>
          <a:p>
            <a:r>
              <a:rPr lang="en-US" dirty="0"/>
              <a:t>2. Massive (</a:t>
            </a:r>
            <a:r>
              <a:rPr lang="en-US" dirty="0" err="1"/>
              <a:t>ie</a:t>
            </a:r>
            <a:r>
              <a:rPr lang="en-US" dirty="0"/>
              <a:t>, $6 cm below the left costal margin) or progressive or symptomatic splenomegaly. </a:t>
            </a:r>
          </a:p>
          <a:p>
            <a:r>
              <a:rPr lang="en-US" dirty="0"/>
              <a:t>3. Massive nodes (</a:t>
            </a:r>
            <a:r>
              <a:rPr lang="en-US" dirty="0" err="1"/>
              <a:t>ie</a:t>
            </a:r>
            <a:r>
              <a:rPr lang="en-US" dirty="0"/>
              <a:t>, $10 cm in longest diameter) or progressive or symptomatic lymphadenopathy. </a:t>
            </a:r>
          </a:p>
          <a:p>
            <a:r>
              <a:rPr lang="en-US" dirty="0"/>
              <a:t>4. Progressive lymphocytosis with an increase of $50% over a 2-month period, or lymphocyte doubling time (LDT) ,6 months. LDT can be obtained by linear regression extrapolation of absolute lymphocyte counts obtained at intervals of 2 weeks over an observation period of 2 to 3 months; patients with initial blood lymphocyte counts ,30 3 109 /L may require a longer observation period to determine the LDT. Factors contributing to lymphocytosis other than CLL (</a:t>
            </a:r>
            <a:r>
              <a:rPr lang="en-US" dirty="0" err="1"/>
              <a:t>eg</a:t>
            </a:r>
            <a:r>
              <a:rPr lang="en-US" dirty="0"/>
              <a:t>, infections, steroid administration) should be excluded.</a:t>
            </a:r>
          </a:p>
          <a:p>
            <a:r>
              <a:rPr lang="en-US" dirty="0"/>
              <a:t> 5. Autoimmune complications including anemia or thrombocytopenia poorly responsive to corticosteroids. </a:t>
            </a:r>
          </a:p>
          <a:p>
            <a:r>
              <a:rPr lang="en-US" dirty="0"/>
              <a:t>6. Symptomatic or functional </a:t>
            </a:r>
            <a:r>
              <a:rPr lang="en-US" dirty="0" err="1"/>
              <a:t>extranodal</a:t>
            </a:r>
            <a:r>
              <a:rPr lang="en-US" dirty="0"/>
              <a:t> involvement (</a:t>
            </a:r>
            <a:r>
              <a:rPr lang="en-US" dirty="0" err="1"/>
              <a:t>eg</a:t>
            </a:r>
            <a:r>
              <a:rPr lang="en-US" dirty="0"/>
              <a:t>, skin, kidney, lung, spine). </a:t>
            </a:r>
          </a:p>
          <a:p>
            <a:r>
              <a:rPr lang="en-US" dirty="0"/>
              <a:t>7. Disease-related symptoms as defined by any of the following:</a:t>
            </a:r>
          </a:p>
          <a:p>
            <a:r>
              <a:rPr lang="en-US" dirty="0"/>
              <a:t> a. Unintentional weight loss $10% within the previous 6 months. </a:t>
            </a:r>
          </a:p>
          <a:p>
            <a:r>
              <a:rPr lang="en-US" dirty="0"/>
              <a:t>b. Significant fatigue (</a:t>
            </a:r>
            <a:r>
              <a:rPr lang="en-US" dirty="0" err="1"/>
              <a:t>ie</a:t>
            </a:r>
            <a:r>
              <a:rPr lang="en-US" dirty="0"/>
              <a:t>, ECOG performance scale 2 or worse; cannot work or unable to perform usual activities). </a:t>
            </a:r>
          </a:p>
          <a:p>
            <a:r>
              <a:rPr lang="en-US" dirty="0"/>
              <a:t>c. Fevers $100.5°F or 38.0°C for 2 or more weeks without evidence of infection. </a:t>
            </a:r>
          </a:p>
          <a:p>
            <a:r>
              <a:rPr lang="en-US" dirty="0"/>
              <a:t>d. Night sweats for $1 month without evidence of infec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F73700-9B4C-4837-AA61-D58BF8BEEE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9668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3,56,47,57,11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8F6D99-C8A3-4F94-9389-8A522B9D24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8207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5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Hematology Translational Disease Team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7543165" cy="2560320"/>
          </a:xfrm>
        </p:spPr>
        <p:txBody>
          <a:bodyPr anchor="t" anchorCtr="0"/>
          <a:lstStyle>
            <a:lvl1pPr algn="l">
              <a:defRPr sz="6000" b="0" spc="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7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688" y="5913096"/>
            <a:ext cx="3260486" cy="822960"/>
          </a:xfrm>
          <a:prstGeom prst="rect">
            <a:avLst/>
          </a:prstGeom>
          <a:noFill/>
        </p:spPr>
      </p:pic>
      <p:sp>
        <p:nvSpPr>
          <p:cNvPr id="10" name="Disclaimer">
            <a:extLst>
              <a:ext uri="{FF2B5EF4-FFF2-40B4-BE49-F238E27FC236}">
                <a16:creationId xmlns:a16="http://schemas.microsoft.com/office/drawing/2014/main" id="{0411BC70-4820-DF40-90C3-6ACD451ADD60}"/>
              </a:ext>
            </a:extLst>
          </p:cNvPr>
          <p:cNvSpPr txBox="1"/>
          <p:nvPr userDrawn="1"/>
        </p:nvSpPr>
        <p:spPr>
          <a:xfrm>
            <a:off x="8205215" y="6257290"/>
            <a:ext cx="3621659" cy="2286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 dirty="0"/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476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1507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/6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4917" y="536576"/>
            <a:ext cx="6324659" cy="5873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4917" y="1984375"/>
            <a:ext cx="6324659" cy="39867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5344917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9924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94020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/4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7226595" y="0"/>
            <a:ext cx="4965405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973392" y="1984375"/>
            <a:ext cx="5895923" cy="391312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536576"/>
            <a:ext cx="5895923" cy="587375"/>
          </a:xfrm>
        </p:spPr>
        <p:txBody>
          <a:bodyPr/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42259814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/4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878841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6594" y="536576"/>
            <a:ext cx="4442982" cy="5873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26594" y="1984375"/>
            <a:ext cx="4442982" cy="39867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7226595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7195884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3086100"/>
            <a:ext cx="10001526" cy="685800"/>
          </a:xfrm>
        </p:spPr>
        <p:txBody>
          <a:bodyPr anchor="t" anchorCtr="0"/>
          <a:lstStyle>
            <a:lvl1pPr algn="l">
              <a:defRPr sz="40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 rot="16200000">
            <a:off x="-1624947" y="3362308"/>
            <a:ext cx="3383280" cy="1333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21140967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72498" y="2696210"/>
            <a:ext cx="8193633" cy="1397000"/>
          </a:xfrm>
        </p:spPr>
        <p:txBody>
          <a:bodyPr tIns="0" anchor="t" anchorCtr="0"/>
          <a:lstStyle>
            <a:lvl1pPr algn="l">
              <a:defRPr sz="40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973392" y="2505671"/>
            <a:ext cx="1578690" cy="2077492"/>
          </a:xfrm>
        </p:spPr>
        <p:txBody>
          <a:bodyPr bIns="0">
            <a:spAutoFit/>
          </a:bodyPr>
          <a:lstStyle>
            <a:lvl1pPr marL="0" indent="0">
              <a:buNone/>
              <a:defRPr sz="150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6" name="Rectangle 5"/>
          <p:cNvSpPr/>
          <p:nvPr userDrawn="1"/>
        </p:nvSpPr>
        <p:spPr>
          <a:xfrm rot="16200000">
            <a:off x="-1624947" y="3362308"/>
            <a:ext cx="3383280" cy="1333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9804531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number_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4930775"/>
            <a:ext cx="4774855" cy="1397000"/>
          </a:xfrm>
        </p:spPr>
        <p:txBody>
          <a:bodyPr anchor="t" anchorCtr="0"/>
          <a:lstStyle>
            <a:lvl1pPr algn="l">
              <a:defRPr sz="32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973392" y="536575"/>
            <a:ext cx="1578690" cy="2077492"/>
          </a:xfrm>
        </p:spPr>
        <p:txBody>
          <a:bodyPr bIns="0">
            <a:spAutoFit/>
          </a:bodyPr>
          <a:lstStyle>
            <a:lvl1pPr marL="0" indent="0">
              <a:buNone/>
              <a:defRPr sz="150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7790528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number_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992401" y="0"/>
            <a:ext cx="71996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4930775"/>
            <a:ext cx="3656964" cy="1397000"/>
          </a:xfrm>
        </p:spPr>
        <p:txBody>
          <a:bodyPr anchor="t" anchorCtr="0"/>
          <a:lstStyle>
            <a:lvl1pPr algn="l">
              <a:defRPr sz="32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973392" y="536575"/>
            <a:ext cx="1578690" cy="2077492"/>
          </a:xfrm>
        </p:spPr>
        <p:txBody>
          <a:bodyPr bIns="0">
            <a:spAutoFit/>
          </a:bodyPr>
          <a:lstStyle>
            <a:lvl1pPr marL="0" indent="0">
              <a:buNone/>
              <a:defRPr sz="150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8671443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low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536575"/>
            <a:ext cx="4774855" cy="1447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1" y="536576"/>
            <a:ext cx="5573576" cy="1447800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1" y="2286000"/>
            <a:ext cx="12192000" cy="4572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3030283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lower image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2286000"/>
            <a:ext cx="12192000" cy="4572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12192000" cy="22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536576"/>
            <a:ext cx="4774855" cy="5873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1" y="536576"/>
            <a:ext cx="5573576" cy="1447800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/>
              <a:pPr/>
              <a:t>11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973392" y="2838450"/>
            <a:ext cx="10696185" cy="34988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8422293" y="6657948"/>
            <a:ext cx="3769708" cy="200053"/>
          </a:xfrm>
          <a:prstGeom prst="rect">
            <a:avLst/>
          </a:prstGeom>
        </p:spPr>
        <p:txBody>
          <a:bodyPr vert="horz" lIns="91448" tIns="45724" rIns="91448" bIns="45724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2021 Mayo Foundation for Medical Education and Research  |  slide-</a:t>
            </a:r>
            <a:fld id="{D445C29B-035B-48ED-941F-A66A11A8A322}" type="slidenum">
              <a:rPr lang="en-US" sz="7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lvl="0"/>
              <a:t>‹#›</a:t>
            </a:fld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58748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 layou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73391" y="1984376"/>
            <a:ext cx="10002267" cy="790575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73392" y="4689970"/>
            <a:ext cx="2286595" cy="1444752"/>
          </a:xfrm>
        </p:spPr>
        <p:txBody>
          <a:bodyPr tIns="91440" bIns="4572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973392" y="4407495"/>
            <a:ext cx="2286595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3547929" y="4407495"/>
            <a:ext cx="2286595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6122467" y="4407495"/>
            <a:ext cx="2286595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8697003" y="4407495"/>
            <a:ext cx="2286595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3547929" y="4689970"/>
            <a:ext cx="2286595" cy="1444752"/>
          </a:xfrm>
        </p:spPr>
        <p:txBody>
          <a:bodyPr tIns="91440" bIns="4572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6122467" y="4689970"/>
            <a:ext cx="2286595" cy="1444752"/>
          </a:xfrm>
        </p:spPr>
        <p:txBody>
          <a:bodyPr tIns="91440" bIns="4572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8697003" y="4689970"/>
            <a:ext cx="2286595" cy="1444752"/>
          </a:xfrm>
        </p:spPr>
        <p:txBody>
          <a:bodyPr tIns="91440" bIns="4572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448742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Amber">
    <p:bg>
      <p:bgPr>
        <a:gradFill>
          <a:gsLst>
            <a:gs pos="0">
              <a:srgbClr val="FFFBF4"/>
            </a:gs>
            <a:gs pos="100000">
              <a:srgbClr val="FFECC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5483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ay border-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610063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6091363" y="0"/>
            <a:ext cx="610063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33857" y="536576"/>
            <a:ext cx="11128098" cy="5800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1" y="1077915"/>
            <a:ext cx="10010207" cy="519111"/>
          </a:xfrm>
        </p:spPr>
        <p:txBody>
          <a:bodyPr/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3392" y="2136775"/>
            <a:ext cx="4662114" cy="3676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/>
              <a:pPr/>
              <a:t>11/17/2021</a:t>
            </a:fld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726470" y="2413496"/>
            <a:ext cx="3246966" cy="748805"/>
          </a:xfrm>
        </p:spPr>
        <p:txBody>
          <a:bodyPr tIns="91440" bIns="4572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7726470" y="2132013"/>
            <a:ext cx="3244659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726470" y="3729534"/>
            <a:ext cx="3246966" cy="748805"/>
          </a:xfrm>
        </p:spPr>
        <p:txBody>
          <a:bodyPr tIns="91440" bIns="4572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7726470" y="3452019"/>
            <a:ext cx="3246966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7726470" y="5051921"/>
            <a:ext cx="3246966" cy="748805"/>
          </a:xfrm>
        </p:spPr>
        <p:txBody>
          <a:bodyPr tIns="91440" bIns="4572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7726470" y="4772025"/>
            <a:ext cx="3246966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35201" y="6135688"/>
            <a:ext cx="8737600" cy="365760"/>
          </a:xfrm>
          <a:prstGeom prst="rect">
            <a:avLst/>
          </a:prstGeom>
        </p:spPr>
        <p:txBody>
          <a:bodyPr vert="horz" lIns="0" tIns="45724" rIns="0" bIns="0" rtlCol="0" anchor="t" anchorCtr="0"/>
          <a:lstStyle>
            <a:lvl1pPr algn="r">
              <a:lnSpc>
                <a:spcPct val="9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422293" y="6657948"/>
            <a:ext cx="3769708" cy="200053"/>
          </a:xfrm>
          <a:prstGeom prst="rect">
            <a:avLst/>
          </a:prstGeom>
        </p:spPr>
        <p:txBody>
          <a:bodyPr vert="horz" lIns="91448" tIns="45724" rIns="91448" bIns="45724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700" dirty="0">
                <a:solidFill>
                  <a:schemeClr val="bg2"/>
                </a:solidFill>
              </a:rPr>
              <a:t>©2021 Mayo Foundation for Medical Education and Research  |  slide-</a:t>
            </a:r>
            <a:fld id="{D445C29B-035B-48ED-941F-A66A11A8A322}" type="slidenum">
              <a:rPr lang="en-US" sz="700" smtClean="0">
                <a:solidFill>
                  <a:schemeClr val="bg2"/>
                </a:solidFill>
              </a:rPr>
              <a:pPr lvl="0"/>
              <a:t>‹#›</a:t>
            </a:fld>
            <a:endParaRPr lang="en-US" sz="7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20227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536576"/>
            <a:ext cx="10001526" cy="587375"/>
          </a:xfrm>
        </p:spPr>
        <p:txBody>
          <a:bodyPr/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73392" y="1984375"/>
            <a:ext cx="4770569" cy="391312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42166" y="1984375"/>
            <a:ext cx="4774855" cy="391312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5586073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with individual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73392" y="2954338"/>
            <a:ext cx="4536605" cy="628650"/>
          </a:xfrm>
        </p:spPr>
        <p:txBody>
          <a:bodyPr tIns="91440"/>
          <a:lstStyle>
            <a:lvl1pPr marL="0" indent="0">
              <a:spcBef>
                <a:spcPts val="200"/>
              </a:spcBef>
              <a:buNone/>
              <a:defRPr sz="2400"/>
            </a:lvl1pPr>
            <a:lvl2pPr marL="457200" indent="0">
              <a:spcBef>
                <a:spcPts val="200"/>
              </a:spcBef>
              <a:buNone/>
              <a:defRPr sz="24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2"/>
          </p:nvPr>
        </p:nvSpPr>
        <p:spPr>
          <a:xfrm>
            <a:off x="973392" y="2643189"/>
            <a:ext cx="4536605" cy="295275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973392" y="1597026"/>
            <a:ext cx="9995915" cy="488949"/>
          </a:xfrm>
        </p:spPr>
        <p:txBody>
          <a:bodyPr tIns="0"/>
          <a:lstStyle>
            <a:lvl1pPr marL="0" indent="0">
              <a:spcBef>
                <a:spcPts val="200"/>
              </a:spcBef>
              <a:buNone/>
              <a:defRPr sz="2400"/>
            </a:lvl1pPr>
            <a:lvl2pPr marL="457200" indent="0">
              <a:spcBef>
                <a:spcPts val="200"/>
              </a:spcBef>
              <a:buNone/>
              <a:defRPr sz="24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18"/>
          </p:nvPr>
        </p:nvSpPr>
        <p:spPr>
          <a:xfrm>
            <a:off x="6442167" y="2954338"/>
            <a:ext cx="4536605" cy="628650"/>
          </a:xfrm>
        </p:spPr>
        <p:txBody>
          <a:bodyPr tIns="91440"/>
          <a:lstStyle>
            <a:lvl1pPr marL="0" indent="0">
              <a:spcBef>
                <a:spcPts val="200"/>
              </a:spcBef>
              <a:buNone/>
              <a:defRPr sz="2400"/>
            </a:lvl1pPr>
            <a:lvl2pPr marL="457200" indent="0">
              <a:spcBef>
                <a:spcPts val="200"/>
              </a:spcBef>
              <a:buNone/>
              <a:defRPr sz="24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9"/>
          </p:nvPr>
        </p:nvSpPr>
        <p:spPr>
          <a:xfrm>
            <a:off x="6442167" y="2643189"/>
            <a:ext cx="4536605" cy="295275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half" idx="20"/>
          </p:nvPr>
        </p:nvSpPr>
        <p:spPr>
          <a:xfrm>
            <a:off x="6442167" y="4334383"/>
            <a:ext cx="4536605" cy="628650"/>
          </a:xfrm>
        </p:spPr>
        <p:txBody>
          <a:bodyPr tIns="91440"/>
          <a:lstStyle>
            <a:lvl1pPr marL="0" indent="0">
              <a:spcBef>
                <a:spcPts val="200"/>
              </a:spcBef>
              <a:buNone/>
              <a:defRPr sz="2400"/>
            </a:lvl1pPr>
            <a:lvl2pPr marL="457200" indent="0">
              <a:spcBef>
                <a:spcPts val="200"/>
              </a:spcBef>
              <a:buNone/>
              <a:defRPr sz="24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1"/>
          </p:nvPr>
        </p:nvSpPr>
        <p:spPr>
          <a:xfrm>
            <a:off x="6442167" y="4032661"/>
            <a:ext cx="4536605" cy="295275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22"/>
          </p:nvPr>
        </p:nvSpPr>
        <p:spPr>
          <a:xfrm>
            <a:off x="6442167" y="5708650"/>
            <a:ext cx="4536605" cy="628650"/>
          </a:xfrm>
        </p:spPr>
        <p:txBody>
          <a:bodyPr tIns="91440"/>
          <a:lstStyle>
            <a:lvl1pPr marL="0" indent="0">
              <a:spcBef>
                <a:spcPts val="200"/>
              </a:spcBef>
              <a:buNone/>
              <a:defRPr sz="2400"/>
            </a:lvl1pPr>
            <a:lvl2pPr marL="457200" indent="0">
              <a:spcBef>
                <a:spcPts val="200"/>
              </a:spcBef>
              <a:buNone/>
              <a:defRPr sz="24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23"/>
          </p:nvPr>
        </p:nvSpPr>
        <p:spPr>
          <a:xfrm>
            <a:off x="6442167" y="5397501"/>
            <a:ext cx="4536605" cy="295275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sz="half" idx="24"/>
          </p:nvPr>
        </p:nvSpPr>
        <p:spPr>
          <a:xfrm>
            <a:off x="973392" y="4334383"/>
            <a:ext cx="4536605" cy="628650"/>
          </a:xfrm>
        </p:spPr>
        <p:txBody>
          <a:bodyPr tIns="91440"/>
          <a:lstStyle>
            <a:lvl1pPr marL="0" indent="0">
              <a:spcBef>
                <a:spcPts val="200"/>
              </a:spcBef>
              <a:buNone/>
              <a:defRPr sz="2400"/>
            </a:lvl1pPr>
            <a:lvl2pPr marL="457200" indent="0">
              <a:spcBef>
                <a:spcPts val="200"/>
              </a:spcBef>
              <a:buNone/>
              <a:defRPr sz="24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5"/>
          </p:nvPr>
        </p:nvSpPr>
        <p:spPr>
          <a:xfrm>
            <a:off x="973392" y="4032661"/>
            <a:ext cx="4536605" cy="295275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26"/>
          </p:nvPr>
        </p:nvSpPr>
        <p:spPr>
          <a:xfrm>
            <a:off x="973392" y="5708650"/>
            <a:ext cx="4536605" cy="628650"/>
          </a:xfrm>
        </p:spPr>
        <p:txBody>
          <a:bodyPr tIns="91440"/>
          <a:lstStyle>
            <a:lvl1pPr marL="0" indent="0">
              <a:spcBef>
                <a:spcPts val="200"/>
              </a:spcBef>
              <a:buNone/>
              <a:defRPr sz="2400"/>
            </a:lvl1pPr>
            <a:lvl2pPr marL="457200" indent="0">
              <a:spcBef>
                <a:spcPts val="200"/>
              </a:spcBef>
              <a:buNone/>
              <a:defRPr sz="24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27"/>
          </p:nvPr>
        </p:nvSpPr>
        <p:spPr>
          <a:xfrm>
            <a:off x="973392" y="5397501"/>
            <a:ext cx="4536605" cy="295275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7773885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8984" y="1984376"/>
            <a:ext cx="4774411" cy="295275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68984" y="2276475"/>
            <a:ext cx="4774411" cy="3705225"/>
          </a:xfrm>
        </p:spPr>
        <p:txBody>
          <a:bodyPr tIns="9144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2166" y="1984376"/>
            <a:ext cx="4774411" cy="295275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42166" y="2276475"/>
            <a:ext cx="4774411" cy="3705225"/>
          </a:xfrm>
        </p:spPr>
        <p:txBody>
          <a:bodyPr tIns="9144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5400164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0/40 Title and Conten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7226595" y="0"/>
            <a:ext cx="4965405" cy="6858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3" y="536576"/>
            <a:ext cx="5468773" cy="5873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3393" y="1984375"/>
            <a:ext cx="5468774" cy="39867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7755370" y="1984375"/>
            <a:ext cx="3914207" cy="398678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422293" y="6657948"/>
            <a:ext cx="3769708" cy="200053"/>
          </a:xfrm>
          <a:prstGeom prst="rect">
            <a:avLst/>
          </a:prstGeom>
        </p:spPr>
        <p:txBody>
          <a:bodyPr vert="horz" lIns="91448" tIns="45724" rIns="91448" bIns="45724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2021 Mayo Foundation for Medical Education and Research  |  slide-</a:t>
            </a:r>
            <a:fld id="{D445C29B-035B-48ED-941F-A66A11A8A322}" type="slidenum">
              <a:rPr lang="en-US" sz="7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lvl="0"/>
              <a:t>‹#›</a:t>
            </a:fld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8861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/60 Title and Two Content Comparison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417575" y="0"/>
            <a:ext cx="7774425" cy="6858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2366170"/>
            <a:ext cx="3075788" cy="2125663"/>
          </a:xfrm>
        </p:spPr>
        <p:txBody>
          <a:bodyPr tIns="0" bIns="0" anchor="ctr" anchorCtr="0"/>
          <a:lstStyle>
            <a:lvl1pPr>
              <a:defRPr sz="3200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-1624947" y="3362308"/>
            <a:ext cx="3383280" cy="1333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4992401" y="542926"/>
            <a:ext cx="3145656" cy="771525"/>
          </a:xfrm>
        </p:spPr>
        <p:txBody>
          <a:bodyPr bIns="0" anchor="b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4992401" y="1597025"/>
            <a:ext cx="3145656" cy="3986784"/>
          </a:xfrm>
        </p:spPr>
        <p:txBody>
          <a:bodyPr tIns="91440"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buClrTx/>
              <a:defRPr sz="2400">
                <a:solidFill>
                  <a:schemeClr val="tx1"/>
                </a:solidFill>
              </a:defRPr>
            </a:lvl2pPr>
            <a:lvl3pPr>
              <a:buClrTx/>
              <a:defRPr sz="2400">
                <a:solidFill>
                  <a:schemeClr val="tx1"/>
                </a:solidFill>
              </a:defRPr>
            </a:lvl3pPr>
            <a:lvl4pPr>
              <a:buClrTx/>
              <a:defRPr sz="2400">
                <a:solidFill>
                  <a:schemeClr val="tx1"/>
                </a:solidFill>
              </a:defRPr>
            </a:lvl4pPr>
            <a:lvl5pPr>
              <a:buClrTx/>
              <a:defRPr sz="2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2"/>
          </p:nvPr>
        </p:nvSpPr>
        <p:spPr>
          <a:xfrm>
            <a:off x="8527097" y="542926"/>
            <a:ext cx="3145656" cy="771525"/>
          </a:xfrm>
        </p:spPr>
        <p:txBody>
          <a:bodyPr bIns="0" anchor="b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41" indent="0">
              <a:buNone/>
              <a:defRPr sz="2000" b="1"/>
            </a:lvl2pPr>
            <a:lvl3pPr marL="914484" indent="0">
              <a:buNone/>
              <a:defRPr sz="1900" b="1"/>
            </a:lvl3pPr>
            <a:lvl4pPr marL="1371725" indent="0">
              <a:buNone/>
              <a:defRPr sz="1600" b="1"/>
            </a:lvl4pPr>
            <a:lvl5pPr marL="1828968" indent="0">
              <a:buNone/>
              <a:defRPr sz="1600" b="1"/>
            </a:lvl5pPr>
            <a:lvl6pPr marL="2286209" indent="0">
              <a:buNone/>
              <a:defRPr sz="1600" b="1"/>
            </a:lvl6pPr>
            <a:lvl7pPr marL="2743452" indent="0">
              <a:buNone/>
              <a:defRPr sz="1600" b="1"/>
            </a:lvl7pPr>
            <a:lvl8pPr marL="3200693" indent="0">
              <a:buNone/>
              <a:defRPr sz="1600" b="1"/>
            </a:lvl8pPr>
            <a:lvl9pPr marL="365793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8527097" y="1597025"/>
            <a:ext cx="3145656" cy="3986784"/>
          </a:xfrm>
        </p:spPr>
        <p:txBody>
          <a:bodyPr vert="horz" lIns="0" tIns="91440" rIns="0" bIns="45724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4982873" y="1455737"/>
            <a:ext cx="6669237" cy="0"/>
          </a:xfrm>
          <a:custGeom>
            <a:avLst/>
            <a:gdLst>
              <a:gd name="connsiteX0" fmla="*/ 0 w 6667500"/>
              <a:gd name="connsiteY0" fmla="*/ 0 h 0"/>
              <a:gd name="connsiteX1" fmla="*/ 6667500 w 6667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67500">
                <a:moveTo>
                  <a:pt x="0" y="0"/>
                </a:moveTo>
                <a:lnTo>
                  <a:pt x="6667500" y="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8422293" y="6657948"/>
            <a:ext cx="3769708" cy="200053"/>
          </a:xfrm>
          <a:prstGeom prst="rect">
            <a:avLst/>
          </a:prstGeom>
        </p:spPr>
        <p:txBody>
          <a:bodyPr vert="horz" lIns="91448" tIns="45724" rIns="91448" bIns="45724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2021 Mayo Foundation for Medical Education and Research  |  slide-</a:t>
            </a:r>
            <a:fld id="{D445C29B-035B-48ED-941F-A66A11A8A322}" type="slidenum">
              <a:rPr lang="en-US" sz="7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lvl="0"/>
              <a:t>‹#›</a:t>
            </a:fld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67199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360382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8925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57019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ayo 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72496" y="2733676"/>
            <a:ext cx="4454099" cy="1371600"/>
          </a:xfrm>
        </p:spPr>
        <p:txBody>
          <a:bodyPr anchor="ctr" anchorCtr="0"/>
          <a:lstStyle>
            <a:lvl1pPr algn="l">
              <a:defRPr sz="40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 rot="16200000">
            <a:off x="-1624947" y="3362308"/>
            <a:ext cx="3383280" cy="1333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96145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Peach">
    <p:bg>
      <p:bgPr>
        <a:gradFill>
          <a:gsLst>
            <a:gs pos="0">
              <a:srgbClr val="FFF7F3"/>
            </a:gs>
            <a:gs pos="100000">
              <a:srgbClr val="FEDCC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599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51848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926377" y="536576"/>
            <a:ext cx="2743200" cy="5435600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73391" y="536576"/>
            <a:ext cx="7594488" cy="5435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60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Olive">
    <p:bg>
      <p:bgPr>
        <a:gradFill>
          <a:gsLst>
            <a:gs pos="0">
              <a:srgbClr val="FAF6F3"/>
            </a:gs>
            <a:gs pos="100000">
              <a:srgbClr val="EAD5C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316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Almond">
    <p:bg>
      <p:bgPr>
        <a:gradFill>
          <a:gsLst>
            <a:gs pos="0">
              <a:srgbClr val="F8F3F1"/>
            </a:gs>
            <a:gs pos="100000">
              <a:srgbClr val="DFCBC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012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Sienna">
    <p:bg>
      <p:bgPr>
        <a:gradFill>
          <a:gsLst>
            <a:gs pos="0">
              <a:srgbClr val="F5F0F0"/>
            </a:gs>
            <a:gs pos="100000">
              <a:srgbClr val="DAC5C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741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Chocolate">
    <p:bg>
      <p:bgPr>
        <a:gradFill>
          <a:gsLst>
            <a:gs pos="0">
              <a:srgbClr val="F6F4F3"/>
            </a:gs>
            <a:gs pos="100000">
              <a:srgbClr val="D2CAC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594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Mint">
    <p:bg>
      <p:bgPr>
        <a:gradFill>
          <a:gsLst>
            <a:gs pos="0">
              <a:srgbClr val="F2FFF9"/>
            </a:gs>
            <a:gs pos="100000">
              <a:srgbClr val="C5FFE6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563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Aqua">
    <p:bg>
      <p:bgPr>
        <a:gradFill>
          <a:gsLst>
            <a:gs pos="0">
              <a:srgbClr val="EFFCFE"/>
            </a:gs>
            <a:gs pos="100000">
              <a:srgbClr val="C0F2F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06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nent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5883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5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Hematology Translational Disease Team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7543165" cy="2560320"/>
          </a:xfrm>
        </p:spPr>
        <p:txBody>
          <a:bodyPr anchor="t" anchorCtr="0"/>
          <a:lstStyle>
            <a:lvl1pPr algn="l">
              <a:defRPr sz="6000" b="0" spc="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1E892DE-B840-A64B-91A1-1B18F6037C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7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688" y="5913096"/>
            <a:ext cx="3260486" cy="822960"/>
          </a:xfrm>
          <a:prstGeom prst="rect">
            <a:avLst/>
          </a:prstGeom>
          <a:noFill/>
        </p:spPr>
      </p:pic>
      <p:sp>
        <p:nvSpPr>
          <p:cNvPr id="8" name="Disclaimer">
            <a:extLst>
              <a:ext uri="{FF2B5EF4-FFF2-40B4-BE49-F238E27FC236}">
                <a16:creationId xmlns:a16="http://schemas.microsoft.com/office/drawing/2014/main" id="{F95EDC5C-ABEE-824D-9A00-482457322324}"/>
              </a:ext>
            </a:extLst>
          </p:cNvPr>
          <p:cNvSpPr txBox="1"/>
          <p:nvPr userDrawn="1"/>
        </p:nvSpPr>
        <p:spPr>
          <a:xfrm>
            <a:off x="8205215" y="6257290"/>
            <a:ext cx="3621659" cy="2286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 dirty="0"/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24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n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44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6096000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464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3044952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0952" y="3429000"/>
            <a:ext cx="3051048" cy="3429000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18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our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3044952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0952" y="3429000"/>
            <a:ext cx="3051048" cy="1719072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26BC3F3-33EB-F346-B70E-DE269C6819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0952" y="5148072"/>
            <a:ext cx="3051048" cy="170992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23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B9E9C5D-8364-0D47-AF90-417652D3C1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5126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8A87F8F-2D9A-B243-A5FB-6E555C2704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76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5797D6E4-4FD3-FB41-AC2F-B0BC446609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01999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8504504-7E85-584D-A20B-448D0D56BB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200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8B42205D-9591-3C43-8A71-9811FC49A7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8400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BC915BB-BDF2-BD44-8C3A-2C34D2A9A6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840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DD93C7F7-3C80-DA48-9BC2-95DD73DF878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624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A585D99-3BCE-844A-8969-7E2EFD217B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8210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17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6">
          <p15:clr>
            <a:srgbClr val="FBAE40"/>
          </p15:clr>
        </p15:guide>
        <p15:guide id="3" pos="5600">
          <p15:clr>
            <a:srgbClr val="FBAE40"/>
          </p15:clr>
        </p15:guide>
        <p15:guide id="4" pos="5784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  <p15:guide id="7" orient="horz" pos="2074">
          <p15:clr>
            <a:srgbClr val="FBAE40"/>
          </p15:clr>
        </p15:guide>
        <p15:guide id="8" orient="horz" pos="218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3F25E4DD-7BAF-CF43-9AF5-512CC54177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DC9E62E-3AF4-C24D-8B08-8A7FCB7ED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E3D7CA1-C89E-E24C-B557-52A1F9AEBF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08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753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Amber">
    <p:bg>
      <p:bgPr>
        <a:gradFill>
          <a:gsLst>
            <a:gs pos="0">
              <a:srgbClr val="FFFBF4"/>
            </a:gs>
            <a:gs pos="100000">
              <a:srgbClr val="FFECC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892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Peach">
    <p:bg>
      <p:bgPr>
        <a:gradFill>
          <a:gsLst>
            <a:gs pos="0">
              <a:srgbClr val="FFF7F3"/>
            </a:gs>
            <a:gs pos="100000">
              <a:srgbClr val="FEDCC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48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Olive">
    <p:bg>
      <p:bgPr>
        <a:gradFill>
          <a:gsLst>
            <a:gs pos="0">
              <a:srgbClr val="FAF6F3"/>
            </a:gs>
            <a:gs pos="100000">
              <a:srgbClr val="EAD5C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42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 rIns="0" numCol="2" spcCol="301752"/>
          <a:lstStyle>
            <a:lvl1pPr marL="411480" indent="-411480">
              <a:buFont typeface="+mj-lt"/>
              <a:buAutoNum type="arabicPeriod"/>
              <a:tabLst/>
              <a:defRPr/>
            </a:lvl1pPr>
            <a:lvl2pPr marL="640080" indent="-228600">
              <a:tabLst/>
              <a:defRPr/>
            </a:lvl2pPr>
            <a:lvl3pPr marL="868680" indent="-228600">
              <a:tabLst/>
              <a:defRPr/>
            </a:lvl3pPr>
            <a:lvl4pPr marL="1097280" indent="-228600">
              <a:tabLst/>
              <a:defRPr/>
            </a:lvl4pPr>
            <a:lvl5pPr marL="1325880" indent="-228600">
              <a:tabLst/>
              <a:defRPr/>
            </a:lvl5pPr>
            <a:lvl6pPr marL="1554480" indent="-228600">
              <a:tabLst/>
              <a:defRPr/>
            </a:lvl6pPr>
            <a:lvl7pPr marL="1783080" indent="-228600">
              <a:tabLst/>
              <a:defRPr/>
            </a:lvl7pPr>
            <a:lvl8pPr marL="2011680" indent="-228600">
              <a:tabLst/>
              <a:defRPr/>
            </a:lvl8pPr>
            <a:lvl9pPr marL="2240280" indent="-228600">
              <a:tabLst/>
              <a:defRPr/>
            </a:lvl9pPr>
          </a:lstStyle>
          <a:p>
            <a:pPr lvl="0"/>
            <a:r>
              <a:rPr lang="en-US" dirty="0"/>
              <a:t>[Agenda item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303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Almond">
    <p:bg>
      <p:bgPr>
        <a:gradFill>
          <a:gsLst>
            <a:gs pos="0">
              <a:srgbClr val="F8F3F1"/>
            </a:gs>
            <a:gs pos="100000">
              <a:srgbClr val="DFCBC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541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Sienna">
    <p:bg>
      <p:bgPr>
        <a:gradFill>
          <a:gsLst>
            <a:gs pos="0">
              <a:srgbClr val="F5F0F0"/>
            </a:gs>
            <a:gs pos="100000">
              <a:srgbClr val="DAC5C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8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hocolate">
    <p:bg>
      <p:bgPr>
        <a:gradFill>
          <a:gsLst>
            <a:gs pos="0">
              <a:srgbClr val="F6F4F3"/>
            </a:gs>
            <a:gs pos="100000">
              <a:srgbClr val="D2CAC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20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Mint">
    <p:bg>
      <p:bgPr>
        <a:gradFill>
          <a:gsLst>
            <a:gs pos="0">
              <a:srgbClr val="F2FFF9"/>
            </a:gs>
            <a:gs pos="100000">
              <a:srgbClr val="C5FFE6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47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2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45BF3E53-7A3D-40D5-AE68-3CE44909F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33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ristol Myers Squibb" descr="Bristol Myers Squibb">
            <a:extLst>
              <a:ext uri="{FF2B5EF4-FFF2-40B4-BE49-F238E27FC236}">
                <a16:creationId xmlns:a16="http://schemas.microsoft.com/office/drawing/2014/main" id="{B50985CD-7333-F343-85B8-C4893E81FC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645920" y="2194560"/>
            <a:ext cx="9056906" cy="228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2806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688" y="5913096"/>
            <a:ext cx="3260484" cy="822960"/>
          </a:xfrm>
          <a:prstGeom prst="rect">
            <a:avLst/>
          </a:prstGeom>
          <a:noFill/>
        </p:spPr>
      </p:pic>
      <p:sp>
        <p:nvSpPr>
          <p:cNvPr id="8" name="Thank You">
            <a:extLst>
              <a:ext uri="{FF2B5EF4-FFF2-40B4-BE49-F238E27FC236}">
                <a16:creationId xmlns:a16="http://schemas.microsoft.com/office/drawing/2014/main" id="{2DF7BC51-D766-5D44-8D23-2A1F0BF208B3}"/>
              </a:ext>
            </a:extLst>
          </p:cNvPr>
          <p:cNvSpPr txBox="1">
            <a:spLocks/>
          </p:cNvSpPr>
          <p:nvPr userDrawn="1"/>
        </p:nvSpPr>
        <p:spPr>
          <a:xfrm>
            <a:off x="365760" y="1554480"/>
            <a:ext cx="7543165" cy="182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D75AF2-C99D-9247-B7AF-B859D95DB4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4434840"/>
            <a:ext cx="7543165" cy="1371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40390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77485-6E0D-47A0-ACA2-25288C355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054" y="538531"/>
            <a:ext cx="10979177" cy="480131"/>
          </a:xfrm>
        </p:spPr>
        <p:txBody>
          <a:bodyPr/>
          <a:lstStyle>
            <a:lvl1pPr>
              <a:defRPr sz="2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51E88-05D3-4935-8FCE-8EA07C65FC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2121" y="1444004"/>
            <a:ext cx="10979177" cy="415498"/>
          </a:xfrm>
        </p:spPr>
        <p:txBody>
          <a:bodyPr numCol="2"/>
          <a:lstStyle>
            <a:lvl1pPr marL="0" indent="0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91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77485-6E0D-47A0-ACA2-25288C355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054" y="538531"/>
            <a:ext cx="10979177" cy="480131"/>
          </a:xfrm>
        </p:spPr>
        <p:txBody>
          <a:bodyPr/>
          <a:lstStyle>
            <a:lvl1pPr>
              <a:defRPr sz="2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51E88-05D3-4935-8FCE-8EA07C65FC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2121" y="1444003"/>
            <a:ext cx="10979177" cy="338554"/>
          </a:xfr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66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95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  <a:sym typeface="Century Gothic" panose="020B0502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E0CEFD-0CDF-4A41-9FFE-B444811B97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auto">
          <a:xfrm>
            <a:off x="6288138" y="1445177"/>
            <a:ext cx="5341741" cy="193899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177485-6E0D-47A0-ACA2-25288C35561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62054" y="538531"/>
            <a:ext cx="10979177" cy="480131"/>
          </a:xfrm>
        </p:spPr>
        <p:txBody>
          <a:bodyPr/>
          <a:lstStyle>
            <a:lvl1pPr>
              <a:defRPr sz="2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51E88-05D3-4935-8FCE-8EA07C65FC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auto">
          <a:xfrm>
            <a:off x="562122" y="1444004"/>
            <a:ext cx="5533878" cy="338554"/>
          </a:xfrm>
        </p:spPr>
        <p:txBody>
          <a:bodyPr numCol="1"/>
          <a:lstStyle>
            <a:lvl1pPr marL="0" indent="0" eaLnBrk="1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962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6726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</a:pPr>
            <a:endParaRPr lang="en-US" sz="3200" b="1" i="0" baseline="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65759" y="365760"/>
            <a:ext cx="11460480" cy="443198"/>
          </a:xfrm>
        </p:spPr>
        <p:txBody>
          <a:bodyPr>
            <a:spAutoFit/>
          </a:bodyPr>
          <a:lstStyle>
            <a:lvl1pPr>
              <a:defRPr sz="32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WW Heme Deck for PSGC_20200324_preread_v1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9613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Aqua">
    <p:bg>
      <p:bgPr>
        <a:gradFill>
          <a:gsLst>
            <a:gs pos="0">
              <a:srgbClr val="EFFCFE"/>
            </a:gs>
            <a:gs pos="100000">
              <a:srgbClr val="C0F2F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35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48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CF9CDAC-EC28-4BA6-9827-D58133E18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82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040348" y="161927"/>
            <a:ext cx="10990787" cy="760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889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A612FDC-2243-4E3F-8566-10F74A2A3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A612FDC-2243-4E3F-8566-10F74A2A3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3F9C1D-FBCB-4B0A-A81D-CF31068825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  <a:sym typeface="Century Gothic" panose="020B0502020202020204" pitchFamily="34" charset="0"/>
            </a:endParaRPr>
          </a:p>
        </p:txBody>
      </p:sp>
      <p:sp>
        <p:nvSpPr>
          <p:cNvPr id="6" name="Title Placeholder 19">
            <a:extLst>
              <a:ext uri="{FF2B5EF4-FFF2-40B4-BE49-F238E27FC236}">
                <a16:creationId xmlns:a16="http://schemas.microsoft.com/office/drawing/2014/main" id="{72F5547C-AD8A-4FD4-BA46-F0A480F33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420624"/>
            <a:ext cx="11100756" cy="424732"/>
          </a:xfrm>
          <a:prstGeom prst="rect">
            <a:avLst/>
          </a:prstGeom>
          <a:noFill/>
        </p:spPr>
        <p:txBody>
          <a:bodyPr vert="horz" wrap="square" lIns="45720" tIns="45720" rIns="4572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3426E4C-A6F2-47D3-B325-DFF2D0064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9891" y="6429375"/>
            <a:ext cx="576349" cy="22080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360769"/>
      </p:ext>
    </p:extLst>
  </p:cSld>
  <p:clrMapOvr>
    <a:masterClrMapping/>
  </p:clrMapOvr>
  <p:transition spd="med"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930E9-CFEE-4BC4-ADC9-524A43B1E4EF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21308-201C-4716-AE76-35785232D9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790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quarter" idx="10"/>
          </p:nvPr>
        </p:nvSpPr>
        <p:spPr>
          <a:xfrm>
            <a:off x="504825" y="6380163"/>
            <a:ext cx="11507788" cy="150812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200"/>
              </a:spcBef>
              <a:buNone/>
              <a:defRPr sz="900">
                <a:solidFill>
                  <a:schemeClr val="tx1">
                    <a:lumMod val="75000"/>
                  </a:schemeClr>
                </a:solidFill>
              </a:defRPr>
            </a:lvl1pPr>
            <a:lvl2pPr marL="457211" indent="0">
              <a:lnSpc>
                <a:spcPct val="95000"/>
              </a:lnSpc>
              <a:spcBef>
                <a:spcPts val="200"/>
              </a:spcBef>
              <a:buNone/>
              <a:defRPr sz="900"/>
            </a:lvl2pPr>
            <a:lvl3pPr marL="914422" indent="0">
              <a:lnSpc>
                <a:spcPct val="95000"/>
              </a:lnSpc>
              <a:spcBef>
                <a:spcPts val="200"/>
              </a:spcBef>
              <a:buNone/>
              <a:defRPr sz="900"/>
            </a:lvl3pPr>
            <a:lvl4pPr marL="1371633" indent="0">
              <a:lnSpc>
                <a:spcPct val="95000"/>
              </a:lnSpc>
              <a:spcBef>
                <a:spcPts val="200"/>
              </a:spcBef>
              <a:buNone/>
              <a:defRPr sz="900"/>
            </a:lvl4pPr>
            <a:lvl5pPr marL="1828844" indent="0">
              <a:lnSpc>
                <a:spcPct val="95000"/>
              </a:lnSpc>
              <a:spcBef>
                <a:spcPts val="200"/>
              </a:spcBef>
              <a:buNone/>
              <a:defRPr sz="9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8221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5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Division/Therapeutic Area 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7543165" cy="2560320"/>
          </a:xfrm>
        </p:spPr>
        <p:txBody>
          <a:bodyPr anchor="t" anchorCtr="0"/>
          <a:lstStyle>
            <a:lvl1pPr algn="l">
              <a:defRPr sz="6000" b="0" spc="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7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688" y="5913096"/>
            <a:ext cx="3260486" cy="822960"/>
          </a:xfrm>
          <a:prstGeom prst="rect">
            <a:avLst/>
          </a:prstGeom>
          <a:noFill/>
        </p:spPr>
      </p:pic>
      <p:sp>
        <p:nvSpPr>
          <p:cNvPr id="10" name="Disclaimer">
            <a:extLst>
              <a:ext uri="{FF2B5EF4-FFF2-40B4-BE49-F238E27FC236}">
                <a16:creationId xmlns:a16="http://schemas.microsoft.com/office/drawing/2014/main" id="{0411BC70-4820-DF40-90C3-6ACD451ADD60}"/>
              </a:ext>
            </a:extLst>
          </p:cNvPr>
          <p:cNvSpPr txBox="1"/>
          <p:nvPr userDrawn="1"/>
        </p:nvSpPr>
        <p:spPr>
          <a:xfrm>
            <a:off x="8205215" y="6257290"/>
            <a:ext cx="3621659" cy="2286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 dirty="0"/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49539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6F4C8E8-7E9A-224F-8714-AB4216A9C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8" y="1554480"/>
            <a:ext cx="557784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554480"/>
            <a:ext cx="557784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35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5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Division/Therapeutic Area 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7543165" cy="2560320"/>
          </a:xfrm>
        </p:spPr>
        <p:txBody>
          <a:bodyPr anchor="t" anchorCtr="0"/>
          <a:lstStyle>
            <a:lvl1pPr algn="l">
              <a:defRPr sz="6000" b="0" spc="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1E892DE-B840-A64B-91A1-1B18F6037C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7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688" y="5913096"/>
            <a:ext cx="3260486" cy="822960"/>
          </a:xfrm>
          <a:prstGeom prst="rect">
            <a:avLst/>
          </a:prstGeom>
          <a:noFill/>
        </p:spPr>
      </p:pic>
      <p:sp>
        <p:nvSpPr>
          <p:cNvPr id="8" name="Disclaimer">
            <a:extLst>
              <a:ext uri="{FF2B5EF4-FFF2-40B4-BE49-F238E27FC236}">
                <a16:creationId xmlns:a16="http://schemas.microsoft.com/office/drawing/2014/main" id="{F95EDC5C-ABEE-824D-9A00-482457322324}"/>
              </a:ext>
            </a:extLst>
          </p:cNvPr>
          <p:cNvSpPr txBox="1"/>
          <p:nvPr userDrawn="1"/>
        </p:nvSpPr>
        <p:spPr>
          <a:xfrm>
            <a:off x="8205215" y="6257290"/>
            <a:ext cx="3621659" cy="2286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 dirty="0"/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9010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 rIns="0" numCol="2" spcCol="301752"/>
          <a:lstStyle>
            <a:lvl1pPr marL="411480" indent="-411480">
              <a:buFont typeface="+mj-lt"/>
              <a:buAutoNum type="arabicPeriod"/>
              <a:tabLst/>
              <a:defRPr/>
            </a:lvl1pPr>
            <a:lvl2pPr marL="640080" indent="-228600">
              <a:tabLst/>
              <a:defRPr/>
            </a:lvl2pPr>
            <a:lvl3pPr marL="868680" indent="-228600">
              <a:tabLst/>
              <a:defRPr/>
            </a:lvl3pPr>
            <a:lvl4pPr marL="1097280" indent="-228600">
              <a:tabLst/>
              <a:defRPr/>
            </a:lvl4pPr>
            <a:lvl5pPr marL="1325880" indent="-228600">
              <a:tabLst/>
              <a:defRPr/>
            </a:lvl5pPr>
            <a:lvl6pPr marL="1554480" indent="-228600">
              <a:tabLst/>
              <a:defRPr/>
            </a:lvl6pPr>
            <a:lvl7pPr marL="1783080" indent="-228600">
              <a:tabLst/>
              <a:defRPr/>
            </a:lvl7pPr>
            <a:lvl8pPr marL="2011680" indent="-228600">
              <a:tabLst/>
              <a:defRPr/>
            </a:lvl8pPr>
            <a:lvl9pPr marL="2240280" indent="-228600">
              <a:tabLst/>
              <a:defRPr/>
            </a:lvl9pPr>
          </a:lstStyle>
          <a:p>
            <a:pPr lvl="0"/>
            <a:r>
              <a:rPr lang="en-US" dirty="0"/>
              <a:t>[Agenda item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987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78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6F4C8E8-7E9A-224F-8714-AB4216A9C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8" y="1554480"/>
            <a:ext cx="557784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554480"/>
            <a:ext cx="5577840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33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36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3621024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5488" y="1554480"/>
            <a:ext cx="3621024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05216" y="1554480"/>
            <a:ext cx="3621024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28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98">
          <p15:clr>
            <a:srgbClr val="FBAE40"/>
          </p15:clr>
        </p15:guide>
        <p15:guide id="2" pos="2512">
          <p15:clr>
            <a:srgbClr val="FBAE40"/>
          </p15:clr>
        </p15:guide>
        <p15:guide id="3" pos="4982">
          <p15:clr>
            <a:srgbClr val="FBAE40"/>
          </p15:clr>
        </p15:guide>
        <p15:guide id="4" pos="516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2642616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02001" y="1554480"/>
            <a:ext cx="2641598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8400" y="1554480"/>
            <a:ext cx="26416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04198CF4-E51B-2147-88D7-1228A1479B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183624" y="1554480"/>
            <a:ext cx="2642616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82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6">
          <p15:clr>
            <a:srgbClr val="FBAE40"/>
          </p15:clr>
        </p15:guide>
        <p15:guide id="3" pos="5600">
          <p15:clr>
            <a:srgbClr val="FBAE40"/>
          </p15:clr>
        </p15:guide>
        <p15:guide id="4" pos="5784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903699-153C-AD47-95F6-16E2B3016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3618992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6504" y="1554480"/>
            <a:ext cx="7539736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22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00">
          <p15:clr>
            <a:srgbClr val="FBAE40"/>
          </p15:clr>
        </p15:guide>
        <p15:guide id="2" pos="251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EF123-E2C1-8448-BA4B-9ECBEA28E8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7539736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07248" y="1554480"/>
            <a:ext cx="3618992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7FB1D32-3E1C-554A-A887-047CEBF6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92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980">
          <p15:clr>
            <a:srgbClr val="FBAE40"/>
          </p15:clr>
        </p15:guide>
        <p15:guide id="4" pos="516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07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Amber">
    <p:bg>
      <p:bgPr>
        <a:gradFill>
          <a:gsLst>
            <a:gs pos="0">
              <a:srgbClr val="FFFBF4"/>
            </a:gs>
            <a:gs pos="100000">
              <a:srgbClr val="FFECC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713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0A65C3A-C556-7B4E-9098-E1FD19D432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3621024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5488" y="1554480"/>
            <a:ext cx="3621024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05216" y="1554480"/>
            <a:ext cx="3621024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383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98">
          <p15:clr>
            <a:srgbClr val="FBAE40"/>
          </p15:clr>
        </p15:guide>
        <p15:guide id="2" pos="2512">
          <p15:clr>
            <a:srgbClr val="FBAE40"/>
          </p15:clr>
        </p15:guide>
        <p15:guide id="3" pos="4982">
          <p15:clr>
            <a:srgbClr val="FBAE40"/>
          </p15:clr>
        </p15:guide>
        <p15:guide id="4" pos="516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Peach">
    <p:bg>
      <p:bgPr>
        <a:gradFill>
          <a:gsLst>
            <a:gs pos="0">
              <a:srgbClr val="FFF7F3"/>
            </a:gs>
            <a:gs pos="100000">
              <a:srgbClr val="FEDCC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823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Olive">
    <p:bg>
      <p:bgPr>
        <a:gradFill>
          <a:gsLst>
            <a:gs pos="0">
              <a:srgbClr val="FAF6F3"/>
            </a:gs>
            <a:gs pos="100000">
              <a:srgbClr val="EAD5C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707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Almond">
    <p:bg>
      <p:bgPr>
        <a:gradFill>
          <a:gsLst>
            <a:gs pos="0">
              <a:srgbClr val="F8F3F1"/>
            </a:gs>
            <a:gs pos="100000">
              <a:srgbClr val="DFCBC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8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Sienna">
    <p:bg>
      <p:bgPr>
        <a:gradFill>
          <a:gsLst>
            <a:gs pos="0">
              <a:srgbClr val="F5F0F0"/>
            </a:gs>
            <a:gs pos="100000">
              <a:srgbClr val="DAC5C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58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Chocolate">
    <p:bg>
      <p:bgPr>
        <a:gradFill>
          <a:gsLst>
            <a:gs pos="0">
              <a:srgbClr val="F6F4F3"/>
            </a:gs>
            <a:gs pos="100000">
              <a:srgbClr val="D2CAC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116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Mint">
    <p:bg>
      <p:bgPr>
        <a:gradFill>
          <a:gsLst>
            <a:gs pos="0">
              <a:srgbClr val="F2FFF9"/>
            </a:gs>
            <a:gs pos="100000">
              <a:srgbClr val="C5FFE6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339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Aqua">
    <p:bg>
      <p:bgPr>
        <a:gradFill>
          <a:gsLst>
            <a:gs pos="0">
              <a:srgbClr val="EFFCFE"/>
            </a:gs>
            <a:gs pos="100000">
              <a:srgbClr val="C0F2F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211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nent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572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chemeClr val="tx1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416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n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30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6096000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94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2642616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02001" y="1554480"/>
            <a:ext cx="2641598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8400" y="1554480"/>
            <a:ext cx="26416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04198CF4-E51B-2147-88D7-1228A1479B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183624" y="1554480"/>
            <a:ext cx="2642616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71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6">
          <p15:clr>
            <a:srgbClr val="FBAE40"/>
          </p15:clr>
        </p15:guide>
        <p15:guide id="3" pos="5600">
          <p15:clr>
            <a:srgbClr val="FBAE40"/>
          </p15:clr>
        </p15:guide>
        <p15:guide id="4" pos="5784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3044952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0952" y="3429000"/>
            <a:ext cx="3051048" cy="3429000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059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our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80"/>
            <a:ext cx="5428488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3044952" cy="342900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0952" y="3429000"/>
            <a:ext cx="3051048" cy="1719072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26BC3F3-33EB-F346-B70E-DE269C6819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0952" y="5148072"/>
            <a:ext cx="3051048" cy="170992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54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B9E9C5D-8364-0D47-AF90-417652D3C1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5126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8A87F8F-2D9A-B243-A5FB-6E555C2704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76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5797D6E4-4FD3-FB41-AC2F-B0BC446609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01999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8504504-7E85-584D-A20B-448D0D56BB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200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8B42205D-9591-3C43-8A71-9811FC49A7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8400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BC915BB-BDF2-BD44-8C3A-2C34D2A9A6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840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DD93C7F7-3C80-DA48-9BC2-95DD73DF878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624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A585D99-3BCE-844A-8969-7E2EFD217B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82100" y="3474720"/>
            <a:ext cx="2642616" cy="265176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47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6">
          <p15:clr>
            <a:srgbClr val="FBAE40"/>
          </p15:clr>
        </p15:guide>
        <p15:guide id="3" pos="5600">
          <p15:clr>
            <a:srgbClr val="FBAE40"/>
          </p15:clr>
        </p15:guide>
        <p15:guide id="4" pos="5784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  <p15:guide id="7" orient="horz" pos="2074">
          <p15:clr>
            <a:srgbClr val="FBAE40"/>
          </p15:clr>
        </p15:guide>
        <p15:guide id="8" orient="horz" pos="2188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3F25E4DD-7BAF-CF43-9AF5-512CC54177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DC9E62E-3AF4-C24D-8B08-8A7FCB7ED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E3D7CA1-C89E-E24C-B557-52A1F9AEBF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31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70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Amber">
    <p:bg>
      <p:bgPr>
        <a:gradFill>
          <a:gsLst>
            <a:gs pos="0">
              <a:srgbClr val="FFFBF4"/>
            </a:gs>
            <a:gs pos="100000">
              <a:srgbClr val="FFECC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13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Peach">
    <p:bg>
      <p:bgPr>
        <a:gradFill>
          <a:gsLst>
            <a:gs pos="0">
              <a:srgbClr val="FFF7F3"/>
            </a:gs>
            <a:gs pos="100000">
              <a:srgbClr val="FEDCC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01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Olive">
    <p:bg>
      <p:bgPr>
        <a:gradFill>
          <a:gsLst>
            <a:gs pos="0">
              <a:srgbClr val="FAF6F3"/>
            </a:gs>
            <a:gs pos="100000">
              <a:srgbClr val="EAD5C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93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Almond">
    <p:bg>
      <p:bgPr>
        <a:gradFill>
          <a:gsLst>
            <a:gs pos="0">
              <a:srgbClr val="F8F3F1"/>
            </a:gs>
            <a:gs pos="100000">
              <a:srgbClr val="DFCBC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481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Sienna">
    <p:bg>
      <p:bgPr>
        <a:gradFill>
          <a:gsLst>
            <a:gs pos="0">
              <a:srgbClr val="F5F0F0"/>
            </a:gs>
            <a:gs pos="100000">
              <a:srgbClr val="DAC5C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2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903699-153C-AD47-95F6-16E2B3016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3618992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6504" y="1554480"/>
            <a:ext cx="7539736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41E30D8-4EF8-495A-8824-D819A46BF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181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00">
          <p15:clr>
            <a:srgbClr val="FBAE40"/>
          </p15:clr>
        </p15:guide>
        <p15:guide id="2" pos="251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hocolate">
    <p:bg>
      <p:bgPr>
        <a:gradFill>
          <a:gsLst>
            <a:gs pos="0">
              <a:srgbClr val="F6F4F3"/>
            </a:gs>
            <a:gs pos="100000">
              <a:srgbClr val="D2CAC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7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Mint">
    <p:bg>
      <p:bgPr>
        <a:gradFill>
          <a:gsLst>
            <a:gs pos="0">
              <a:srgbClr val="F2FFF9"/>
            </a:gs>
            <a:gs pos="100000">
              <a:srgbClr val="C5FFE6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5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Aqua">
    <p:bg>
      <p:bgPr>
        <a:gradFill>
          <a:gsLst>
            <a:gs pos="0">
              <a:srgbClr val="EFFCFE"/>
            </a:gs>
            <a:gs pos="100000">
              <a:srgbClr val="C0F2F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32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Light Gray">
    <p:bg>
      <p:bgPr>
        <a:solidFill>
          <a:srgbClr val="EE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DB1BE67-4AA2-4F98-8F15-39B4F53A131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00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CF9CDAC-EC28-4BA6-9827-D58133E18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0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45BF3E53-7A3D-40D5-AE68-3CE44909F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83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ristol Myers Squibb" descr="Bristol Myers Squibb">
            <a:extLst>
              <a:ext uri="{FF2B5EF4-FFF2-40B4-BE49-F238E27FC236}">
                <a16:creationId xmlns:a16="http://schemas.microsoft.com/office/drawing/2014/main" id="{B50985CD-7333-F343-85B8-C4893E81FC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645920" y="2194560"/>
            <a:ext cx="9056906" cy="228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63912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ristol Myers Squibb" descr="Bristol Myers Squibb">
            <a:extLst>
              <a:ext uri="{FF2B5EF4-FFF2-40B4-BE49-F238E27FC236}">
                <a16:creationId xmlns:a16="http://schemas.microsoft.com/office/drawing/2014/main" id="{91000A19-9025-2C4A-9321-625720905B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688" y="5913096"/>
            <a:ext cx="3260484" cy="822960"/>
          </a:xfrm>
          <a:prstGeom prst="rect">
            <a:avLst/>
          </a:prstGeom>
          <a:noFill/>
        </p:spPr>
      </p:pic>
      <p:sp>
        <p:nvSpPr>
          <p:cNvPr id="8" name="Thank You">
            <a:extLst>
              <a:ext uri="{FF2B5EF4-FFF2-40B4-BE49-F238E27FC236}">
                <a16:creationId xmlns:a16="http://schemas.microsoft.com/office/drawing/2014/main" id="{2DF7BC51-D766-5D44-8D23-2A1F0BF208B3}"/>
              </a:ext>
            </a:extLst>
          </p:cNvPr>
          <p:cNvSpPr txBox="1">
            <a:spLocks/>
          </p:cNvSpPr>
          <p:nvPr userDrawn="1"/>
        </p:nvSpPr>
        <p:spPr>
          <a:xfrm>
            <a:off x="365760" y="1554480"/>
            <a:ext cx="7543165" cy="182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D75AF2-C99D-9247-B7AF-B859D95DB4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4434840"/>
            <a:ext cx="7543165" cy="1371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1864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3391" y="2854325"/>
            <a:ext cx="9999339" cy="13970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3392" y="4257675"/>
            <a:ext cx="10001526" cy="685800"/>
          </a:xfrm>
        </p:spPr>
        <p:txBody>
          <a:bodyPr lIns="0" tIns="45720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2400" b="0" cap="all" baseline="0">
                <a:solidFill>
                  <a:schemeClr val="accent1"/>
                </a:solidFill>
              </a:defRPr>
            </a:lvl1pPr>
            <a:lvl2pPr marL="457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973392" y="672465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Freeform 6"/>
          <p:cNvSpPr>
            <a:spLocks noChangeAspect="1" noEditPoints="1"/>
          </p:cNvSpPr>
          <p:nvPr userDrawn="1"/>
        </p:nvSpPr>
        <p:spPr bwMode="auto">
          <a:xfrm>
            <a:off x="541479" y="536575"/>
            <a:ext cx="838364" cy="9144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333908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3391" y="2854325"/>
            <a:ext cx="9999339" cy="13970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3262" y="4257675"/>
            <a:ext cx="10001655" cy="685800"/>
          </a:xfrm>
        </p:spPr>
        <p:txBody>
          <a:bodyPr lIns="0" tIns="45720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8" name="Freeform 6"/>
          <p:cNvSpPr>
            <a:spLocks noChangeAspect="1" noEditPoints="1"/>
          </p:cNvSpPr>
          <p:nvPr userDrawn="1"/>
        </p:nvSpPr>
        <p:spPr bwMode="auto">
          <a:xfrm>
            <a:off x="541479" y="536575"/>
            <a:ext cx="838364" cy="9144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281783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FEF123-E2C1-8448-BA4B-9ECBEA28E8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7539736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07248" y="1554480"/>
            <a:ext cx="3618992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7FB1D32-3E1C-554A-A887-047CEBF6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38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980">
          <p15:clr>
            <a:srgbClr val="FBAE40"/>
          </p15:clr>
        </p15:guide>
        <p15:guide id="4" pos="5168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60/40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3389" y="2854325"/>
            <a:ext cx="5881124" cy="13970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3261" y="4257675"/>
            <a:ext cx="5881124" cy="685800"/>
          </a:xfrm>
        </p:spPr>
        <p:txBody>
          <a:bodyPr lIns="0" tIns="45720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2400" b="0" cap="all" baseline="0">
                <a:solidFill>
                  <a:schemeClr val="accent1"/>
                </a:solidFill>
              </a:defRPr>
            </a:lvl1pPr>
            <a:lvl2pPr marL="457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8" name="Freeform 6"/>
          <p:cNvSpPr>
            <a:spLocks noChangeAspect="1" noEditPoints="1"/>
          </p:cNvSpPr>
          <p:nvPr userDrawn="1"/>
        </p:nvSpPr>
        <p:spPr bwMode="auto">
          <a:xfrm>
            <a:off x="541479" y="536575"/>
            <a:ext cx="838364" cy="9144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7226595" y="0"/>
            <a:ext cx="4965405" cy="6858000"/>
          </a:xfr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973392" y="672465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518026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9680" y="356553"/>
            <a:ext cx="11321736" cy="58737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80" y="1079158"/>
            <a:ext cx="11321736" cy="52063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43440" y="6364627"/>
            <a:ext cx="9434377" cy="27364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064487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 and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73392" y="5100217"/>
            <a:ext cx="2286595" cy="1244022"/>
          </a:xfrm>
        </p:spPr>
        <p:txBody>
          <a:bodyPr tIns="91440" bIns="45720"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973392" y="4817742"/>
            <a:ext cx="2286595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/>
          </p:nvPr>
        </p:nvSpPr>
        <p:spPr>
          <a:xfrm>
            <a:off x="973392" y="1866900"/>
            <a:ext cx="10001526" cy="552450"/>
          </a:xfrm>
        </p:spPr>
        <p:txBody>
          <a:bodyPr tIns="91440"/>
          <a:lstStyle>
            <a:lvl1pPr marL="0" indent="0">
              <a:spcBef>
                <a:spcPts val="0"/>
              </a:spcBef>
              <a:buNone/>
              <a:defRPr sz="2000"/>
            </a:lvl1pPr>
            <a:lvl2pPr>
              <a:defRPr sz="2000"/>
            </a:lvl2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973498" y="1597025"/>
            <a:ext cx="10004002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6"/>
          </p:nvPr>
        </p:nvSpPr>
        <p:spPr>
          <a:xfrm>
            <a:off x="973392" y="3265998"/>
            <a:ext cx="10001526" cy="923925"/>
          </a:xfrm>
        </p:spPr>
        <p:txBody>
          <a:bodyPr tIns="91440"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600"/>
              </a:spcBef>
              <a:defRPr sz="2000"/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973498" y="2993244"/>
            <a:ext cx="10004002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FCC8D01A-387E-4280-BAC9-38B7E85D8FA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547580" y="5100217"/>
            <a:ext cx="2286595" cy="1244022"/>
          </a:xfrm>
        </p:spPr>
        <p:txBody>
          <a:bodyPr tIns="91440" bIns="45720"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F7757D34-B5B7-47AD-AE62-7CA370616FC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547580" y="4817742"/>
            <a:ext cx="2286595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88BF64C8-02FA-4776-8DE9-948D42CD384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21767" y="5100217"/>
            <a:ext cx="2286595" cy="1244022"/>
          </a:xfrm>
        </p:spPr>
        <p:txBody>
          <a:bodyPr tIns="91440" bIns="45720"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4F53157F-C018-4A4C-82A0-9761BBAC5B2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21767" y="4817742"/>
            <a:ext cx="2286595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BE2011B3-D7FA-47F6-B7B0-F9FE6EA46C1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686526" y="5100217"/>
            <a:ext cx="2286595" cy="1244022"/>
          </a:xfrm>
        </p:spPr>
        <p:txBody>
          <a:bodyPr tIns="91440" bIns="45720"/>
          <a:lstStyle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DBAA90D9-8B22-4EB3-AB4B-DA12D85F0CC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686526" y="4817742"/>
            <a:ext cx="2286595" cy="27432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200" indent="0">
              <a:buNone/>
              <a:defRPr b="1"/>
            </a:lvl2pPr>
            <a:lvl3pPr marL="914400" indent="0">
              <a:buNone/>
              <a:defRPr b="1"/>
            </a:lvl3pPr>
            <a:lvl4pPr marL="1371600" indent="0">
              <a:buNone/>
              <a:defRPr b="1"/>
            </a:lvl4pPr>
            <a:lvl5pPr marL="1828800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56601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 black_gray_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417575" y="0"/>
            <a:ext cx="7774425" cy="6858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2366170"/>
            <a:ext cx="3066261" cy="2125663"/>
          </a:xfrm>
        </p:spPr>
        <p:txBody>
          <a:bodyPr tIns="0" bIns="0" anchor="ctr" anchorCtr="0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-1624947" y="3362308"/>
            <a:ext cx="3383280" cy="1333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4992400" y="1597026"/>
            <a:ext cx="6680353" cy="3663950"/>
          </a:xfrm>
        </p:spPr>
        <p:txBody>
          <a:bodyPr vert="horz" lIns="0" tIns="0" rIns="0" bIns="0" rtlCol="0" anchor="ctr" anchorCtr="0">
            <a:noAutofit/>
          </a:bodyPr>
          <a:lstStyle>
            <a:lvl1pPr marL="174625" indent="-174625">
              <a:lnSpc>
                <a:spcPct val="125000"/>
              </a:lnSpc>
              <a:buFont typeface="Arial" panose="020B0604020202020204" pitchFamily="34" charset="0"/>
              <a:buChar char="•"/>
              <a:defRPr lang="en-US" sz="2400" dirty="0" smtClean="0">
                <a:solidFill>
                  <a:schemeClr val="tx1"/>
                </a:solidFill>
              </a:defRPr>
            </a:lvl1pPr>
            <a:lvl2pPr marL="457200" indent="0">
              <a:buClr>
                <a:schemeClr val="tx1"/>
              </a:buClr>
              <a:buNone/>
              <a:defRPr lang="en-US" sz="2200" dirty="0" smtClean="0"/>
            </a:lvl2pPr>
            <a:lvl3pPr marL="914400" indent="0">
              <a:buClr>
                <a:schemeClr val="tx1"/>
              </a:buClr>
              <a:buNone/>
              <a:defRPr lang="en-US" sz="2200" dirty="0" smtClean="0"/>
            </a:lvl3pPr>
            <a:lvl4pPr marL="1371600" indent="0">
              <a:buClr>
                <a:schemeClr val="tx1"/>
              </a:buClr>
              <a:buNone/>
              <a:defRPr lang="en-US" sz="2200" dirty="0" smtClean="0"/>
            </a:lvl4pPr>
            <a:lvl5pPr marL="1828800" indent="0">
              <a:buClr>
                <a:schemeClr val="tx1"/>
              </a:buClr>
              <a:buNone/>
              <a:defRPr lang="en-US" sz="2200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422293" y="6657948"/>
            <a:ext cx="3769708" cy="200053"/>
          </a:xfrm>
          <a:prstGeom prst="rect">
            <a:avLst/>
          </a:prstGeom>
        </p:spPr>
        <p:txBody>
          <a:bodyPr vert="horz" lIns="91448" tIns="45724" rIns="91448" bIns="45724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2021 Mayo Foundation for Medical Education and Research  |  slide-</a:t>
            </a:r>
            <a:fld id="{D445C29B-035B-48ED-941F-A66A11A8A322}" type="slidenum">
              <a:rPr lang="en-US" sz="7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lvl="0"/>
              <a:t>‹#›</a:t>
            </a:fld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1818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992401" y="0"/>
            <a:ext cx="71996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2366170"/>
            <a:ext cx="3656964" cy="2125663"/>
          </a:xfrm>
        </p:spPr>
        <p:txBody>
          <a:bodyPr tIns="0" bIns="0" anchor="ctr" anchorCtr="0"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/>
              <a:pPr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73392" y="4838700"/>
            <a:ext cx="3666492" cy="1276350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744673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_blu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6100637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6091363" y="0"/>
            <a:ext cx="610063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41479" y="536576"/>
            <a:ext cx="11128098" cy="5800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1077915"/>
            <a:ext cx="10010207" cy="5873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3392" y="2132013"/>
            <a:ext cx="10010207" cy="36687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/>
              <a:pPr/>
              <a:t>11/17/2021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35201" y="6135688"/>
            <a:ext cx="8737600" cy="365760"/>
          </a:xfrm>
          <a:prstGeom prst="rect">
            <a:avLst/>
          </a:prstGeom>
        </p:spPr>
        <p:txBody>
          <a:bodyPr vert="horz" lIns="0" tIns="45724" rIns="0" bIns="0" rtlCol="0" anchor="t" anchorCtr="0"/>
          <a:lstStyle>
            <a:lvl1pPr algn="r">
              <a:lnSpc>
                <a:spcPct val="9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422293" y="6657948"/>
            <a:ext cx="3769708" cy="200053"/>
          </a:xfrm>
          <a:prstGeom prst="rect">
            <a:avLst/>
          </a:prstGeom>
        </p:spPr>
        <p:txBody>
          <a:bodyPr vert="horz" lIns="91448" tIns="45724" rIns="91448" bIns="45724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700" dirty="0">
                <a:solidFill>
                  <a:schemeClr val="bg2"/>
                </a:solidFill>
              </a:rPr>
              <a:t>©2021 Mayo Foundation for Medical Education and Research  |  slide-</a:t>
            </a:r>
            <a:fld id="{D445C29B-035B-48ED-941F-A66A11A8A322}" type="slidenum">
              <a:rPr lang="en-US" sz="700" smtClean="0">
                <a:solidFill>
                  <a:schemeClr val="bg2"/>
                </a:solidFill>
              </a:rPr>
              <a:pPr lvl="0"/>
              <a:t>‹#›</a:t>
            </a:fld>
            <a:endParaRPr lang="en-US" sz="7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7428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ue_black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610063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6091363" y="0"/>
            <a:ext cx="610063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41479" y="536576"/>
            <a:ext cx="11128098" cy="5800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1077915"/>
            <a:ext cx="10010207" cy="5873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3392" y="2132013"/>
            <a:ext cx="10010207" cy="36687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35201" y="6135688"/>
            <a:ext cx="8737600" cy="365760"/>
          </a:xfrm>
          <a:prstGeom prst="rect">
            <a:avLst/>
          </a:prstGeom>
        </p:spPr>
        <p:txBody>
          <a:bodyPr vert="horz" lIns="0" tIns="45724" rIns="0" bIns="0" rtlCol="0" anchor="t" anchorCtr="0"/>
          <a:lstStyle>
            <a:lvl1pPr algn="r">
              <a:lnSpc>
                <a:spcPct val="9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422293" y="6657948"/>
            <a:ext cx="3769708" cy="200053"/>
          </a:xfrm>
          <a:prstGeom prst="rect">
            <a:avLst/>
          </a:prstGeom>
        </p:spPr>
        <p:txBody>
          <a:bodyPr vert="horz" lIns="91448" tIns="45724" rIns="91448" bIns="45724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700" dirty="0">
                <a:solidFill>
                  <a:schemeClr val="bg2"/>
                </a:solidFill>
              </a:rPr>
              <a:t>©2021 Mayo Foundation for Medical Education and Research  |  slide-</a:t>
            </a:r>
            <a:fld id="{D445C29B-035B-48ED-941F-A66A11A8A322}" type="slidenum">
              <a:rPr lang="en-US" sz="700" smtClean="0">
                <a:solidFill>
                  <a:schemeClr val="bg2"/>
                </a:solidFill>
              </a:rPr>
              <a:pPr lvl="0"/>
              <a:t>‹#›</a:t>
            </a:fld>
            <a:endParaRPr lang="en-US" sz="7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52679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3392" y="536576"/>
            <a:ext cx="4774855" cy="5873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3392" y="1984375"/>
            <a:ext cx="4774855" cy="398678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7"/>
          <p:cNvSpPr>
            <a:spLocks noGrp="1"/>
          </p:cNvSpPr>
          <p:nvPr>
            <p:ph sz="quarter" idx="12"/>
          </p:nvPr>
        </p:nvSpPr>
        <p:spPr>
          <a:xfrm>
            <a:off x="6096001" y="0"/>
            <a:ext cx="6095998" cy="6858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9707593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0" y="0"/>
            <a:ext cx="6096001" cy="6858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42166" y="536576"/>
            <a:ext cx="5227411" cy="5873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42166" y="1984375"/>
            <a:ext cx="5227411" cy="3986784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6442166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9876092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/6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1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992401" y="0"/>
            <a:ext cx="71996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973391" y="1984375"/>
            <a:ext cx="3666493" cy="391312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73391" y="536575"/>
            <a:ext cx="3666493" cy="1060450"/>
          </a:xfrm>
        </p:spPr>
        <p:txBody>
          <a:bodyPr/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73392" y="0"/>
            <a:ext cx="3384161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74085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0C88FF-867A-4400-B205-E69EFB354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65760"/>
            <a:ext cx="11460480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[Slide titl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DE4FC5-C208-4061-8E32-8B795BC19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554480"/>
            <a:ext cx="11460480" cy="457200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Line">
            <a:extLst>
              <a:ext uri="{FF2B5EF4-FFF2-40B4-BE49-F238E27FC236}">
                <a16:creationId xmlns:a16="http://schemas.microsoft.com/office/drawing/2014/main" id="{B202EDA2-849C-5746-B520-4E5047A706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0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5" name="Bristol Myers Squibb" descr="Bristol Myers Squibb">
            <a:extLst>
              <a:ext uri="{FF2B5EF4-FFF2-40B4-BE49-F238E27FC236}">
                <a16:creationId xmlns:a16="http://schemas.microsoft.com/office/drawing/2014/main" id="{B7697988-37C6-7C4A-AA57-C36971D11EEC}"/>
              </a:ext>
            </a:extLst>
          </p:cNvPr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 bwMode="black">
          <a:xfrm>
            <a:off x="258318" y="6355080"/>
            <a:ext cx="1627632" cy="410821"/>
          </a:xfrm>
          <a:prstGeom prst="rect">
            <a:avLst/>
          </a:prstGeom>
          <a:noFill/>
        </p:spPr>
      </p:pic>
      <p:grpSp>
        <p:nvGrpSpPr>
          <p:cNvPr id="4" name="Group">
            <a:extLst>
              <a:ext uri="{FF2B5EF4-FFF2-40B4-BE49-F238E27FC236}">
                <a16:creationId xmlns:a16="http://schemas.microsoft.com/office/drawing/2014/main" id="{D7F0AB66-B862-4C4F-8DBC-7443BBC9E0C7}"/>
              </a:ext>
            </a:extLst>
          </p:cNvPr>
          <p:cNvGrpSpPr/>
          <p:nvPr userDrawn="1"/>
        </p:nvGrpSpPr>
        <p:grpSpPr>
          <a:xfrm>
            <a:off x="1874520" y="6458891"/>
            <a:ext cx="3919729" cy="231734"/>
            <a:chOff x="1874520" y="6458891"/>
            <a:chExt cx="3919729" cy="231734"/>
          </a:xfrm>
        </p:grpSpPr>
        <p:cxnSp>
          <p:nvCxnSpPr>
            <p:cNvPr id="25" name="Line">
              <a:extLst>
                <a:ext uri="{FF2B5EF4-FFF2-40B4-BE49-F238E27FC236}">
                  <a16:creationId xmlns:a16="http://schemas.microsoft.com/office/drawing/2014/main" id="{DA9532AD-0553-FF47-B676-11BE658B2B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 userDrawn="1"/>
          </p:nvCxnSpPr>
          <p:spPr bwMode="black">
            <a:xfrm>
              <a:off x="1874520" y="6458891"/>
              <a:ext cx="0" cy="228600"/>
            </a:xfrm>
            <a:prstGeom prst="line">
              <a:avLst/>
            </a:prstGeom>
            <a:ln w="635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</p:cxnSp>
        <p:sp>
          <p:nvSpPr>
            <p:cNvPr id="24" name="Division/Therapeutic Area">
              <a:extLst>
                <a:ext uri="{FF2B5EF4-FFF2-40B4-BE49-F238E27FC236}">
                  <a16:creationId xmlns:a16="http://schemas.microsoft.com/office/drawing/2014/main" id="{7F2981F2-EF0F-2349-8B4D-9E148ABFE89B}"/>
                </a:ext>
              </a:extLst>
            </p:cNvPr>
            <p:cNvSpPr txBox="1"/>
            <p:nvPr userDrawn="1"/>
          </p:nvSpPr>
          <p:spPr>
            <a:xfrm>
              <a:off x="2011680" y="6462065"/>
              <a:ext cx="3782569" cy="228560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Bef>
                  <a:spcPts val="0"/>
                </a:spcBef>
                <a:buSzPct val="100000"/>
                <a:buFontTx/>
                <a:buNone/>
              </a:pPr>
              <a:r>
                <a:rPr lang="en-US" sz="1100" b="0" dirty="0">
                  <a:solidFill>
                    <a:schemeClr val="tx1"/>
                  </a:solidFill>
                </a:rPr>
                <a:t>Translational Medicine | Hematology Translational Disease Team</a:t>
              </a:r>
            </a:p>
          </p:txBody>
        </p:sp>
      </p:grpSp>
      <p:sp>
        <p:nvSpPr>
          <p:cNvPr id="16" name="Disclaimer">
            <a:extLst>
              <a:ext uri="{FF2B5EF4-FFF2-40B4-BE49-F238E27FC236}">
                <a16:creationId xmlns:a16="http://schemas.microsoft.com/office/drawing/2014/main" id="{A785335B-16F9-6F4B-9AC7-614641E447A6}"/>
              </a:ext>
            </a:extLst>
          </p:cNvPr>
          <p:cNvSpPr txBox="1"/>
          <p:nvPr userDrawn="1"/>
        </p:nvSpPr>
        <p:spPr>
          <a:xfrm>
            <a:off x="8205216" y="6429375"/>
            <a:ext cx="3209544" cy="228600"/>
          </a:xfrm>
          <a:prstGeom prst="rect">
            <a:avLst/>
          </a:prstGeom>
          <a:noFill/>
        </p:spPr>
        <p:txBody>
          <a:bodyPr wrap="square" lIns="0" tIns="0" rIns="0" bIns="9144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 dirty="0"/>
              <a:t>Highly Confidentia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9012A93-F35D-41B8-A960-2FAFDF3C47A5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502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5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200"/>
        </a:spcBef>
        <a:buFont typeface="Trebuchet MS" panose="020B0603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0">
          <p15:clr>
            <a:srgbClr val="F26B43"/>
          </p15:clr>
        </p15:guide>
        <p15:guide id="2" pos="230">
          <p15:clr>
            <a:srgbClr val="F26B43"/>
          </p15:clr>
        </p15:guide>
        <p15:guide id="3" pos="7450">
          <p15:clr>
            <a:srgbClr val="F26B43"/>
          </p15:clr>
        </p15:guide>
        <p15:guide id="5" orient="horz" pos="978">
          <p15:clr>
            <a:srgbClr val="F26B43"/>
          </p15:clr>
        </p15:guide>
        <p15:guide id="6" orient="horz" pos="38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0C88FF-867A-4400-B205-E69EFB354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65760"/>
            <a:ext cx="11460480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[Slide titl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DE4FC5-C208-4061-8E32-8B795BC19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554480"/>
            <a:ext cx="11460480" cy="457200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Line">
            <a:extLst>
              <a:ext uri="{FF2B5EF4-FFF2-40B4-BE49-F238E27FC236}">
                <a16:creationId xmlns:a16="http://schemas.microsoft.com/office/drawing/2014/main" id="{B202EDA2-849C-5746-B520-4E5047A706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0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5" name="Bristol Myers Squibb" descr="Bristol Myers Squibb">
            <a:extLst>
              <a:ext uri="{FF2B5EF4-FFF2-40B4-BE49-F238E27FC236}">
                <a16:creationId xmlns:a16="http://schemas.microsoft.com/office/drawing/2014/main" id="{B7697988-37C6-7C4A-AA57-C36971D11EEC}"/>
              </a:ext>
            </a:extLst>
          </p:cNvPr>
          <p:cNvPicPr>
            <a:picLocks noChangeAspect="1"/>
          </p:cNvPicPr>
          <p:nvPr userDrawn="1"/>
        </p:nvPicPr>
        <p:blipFill>
          <a:blip r:embed="rId41"/>
          <a:stretch>
            <a:fillRect/>
          </a:stretch>
        </p:blipFill>
        <p:spPr bwMode="black">
          <a:xfrm>
            <a:off x="258318" y="6355080"/>
            <a:ext cx="1627632" cy="410821"/>
          </a:xfrm>
          <a:prstGeom prst="rect">
            <a:avLst/>
          </a:prstGeom>
          <a:noFill/>
        </p:spPr>
      </p:pic>
      <p:grpSp>
        <p:nvGrpSpPr>
          <p:cNvPr id="4" name="Group">
            <a:extLst>
              <a:ext uri="{FF2B5EF4-FFF2-40B4-BE49-F238E27FC236}">
                <a16:creationId xmlns:a16="http://schemas.microsoft.com/office/drawing/2014/main" id="{D7F0AB66-B862-4C4F-8DBC-7443BBC9E0C7}"/>
              </a:ext>
            </a:extLst>
          </p:cNvPr>
          <p:cNvGrpSpPr/>
          <p:nvPr userDrawn="1"/>
        </p:nvGrpSpPr>
        <p:grpSpPr>
          <a:xfrm>
            <a:off x="1874520" y="6458891"/>
            <a:ext cx="3919729" cy="231734"/>
            <a:chOff x="1874520" y="6458891"/>
            <a:chExt cx="3919729" cy="231734"/>
          </a:xfrm>
        </p:grpSpPr>
        <p:cxnSp>
          <p:nvCxnSpPr>
            <p:cNvPr id="25" name="Line">
              <a:extLst>
                <a:ext uri="{FF2B5EF4-FFF2-40B4-BE49-F238E27FC236}">
                  <a16:creationId xmlns:a16="http://schemas.microsoft.com/office/drawing/2014/main" id="{DA9532AD-0553-FF47-B676-11BE658B2B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 userDrawn="1"/>
          </p:nvCxnSpPr>
          <p:spPr bwMode="black">
            <a:xfrm>
              <a:off x="1874520" y="6458891"/>
              <a:ext cx="0" cy="228600"/>
            </a:xfrm>
            <a:prstGeom prst="line">
              <a:avLst/>
            </a:prstGeom>
            <a:ln w="635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</p:cxnSp>
        <p:sp>
          <p:nvSpPr>
            <p:cNvPr id="24" name="Division/Therapeutic Area">
              <a:extLst>
                <a:ext uri="{FF2B5EF4-FFF2-40B4-BE49-F238E27FC236}">
                  <a16:creationId xmlns:a16="http://schemas.microsoft.com/office/drawing/2014/main" id="{7F2981F2-EF0F-2349-8B4D-9E148ABFE89B}"/>
                </a:ext>
              </a:extLst>
            </p:cNvPr>
            <p:cNvSpPr txBox="1"/>
            <p:nvPr userDrawn="1"/>
          </p:nvSpPr>
          <p:spPr>
            <a:xfrm>
              <a:off x="2011680" y="6462065"/>
              <a:ext cx="3782569" cy="228560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marL="0" indent="0" algn="l">
                <a:lnSpc>
                  <a:spcPct val="100000"/>
                </a:lnSpc>
                <a:spcBef>
                  <a:spcPts val="0"/>
                </a:spcBef>
                <a:buSzPct val="100000"/>
                <a:buFontTx/>
                <a:buNone/>
              </a:pPr>
              <a:r>
                <a:rPr lang="en-US" sz="1100" b="0" dirty="0">
                  <a:solidFill>
                    <a:schemeClr val="tx1"/>
                  </a:solidFill>
                </a:rPr>
                <a:t>Translational Medicine</a:t>
              </a:r>
            </a:p>
          </p:txBody>
        </p:sp>
      </p:grpSp>
      <p:sp>
        <p:nvSpPr>
          <p:cNvPr id="16" name="Disclaimer">
            <a:extLst>
              <a:ext uri="{FF2B5EF4-FFF2-40B4-BE49-F238E27FC236}">
                <a16:creationId xmlns:a16="http://schemas.microsoft.com/office/drawing/2014/main" id="{A785335B-16F9-6F4B-9AC7-614641E447A6}"/>
              </a:ext>
            </a:extLst>
          </p:cNvPr>
          <p:cNvSpPr txBox="1"/>
          <p:nvPr userDrawn="1"/>
        </p:nvSpPr>
        <p:spPr>
          <a:xfrm>
            <a:off x="8205216" y="6429375"/>
            <a:ext cx="3209544" cy="228600"/>
          </a:xfrm>
          <a:prstGeom prst="rect">
            <a:avLst/>
          </a:prstGeom>
          <a:noFill/>
        </p:spPr>
        <p:txBody>
          <a:bodyPr wrap="square" lIns="0" tIns="0" rIns="0" bIns="9144" rtlCol="0" anchor="b" anchorCtr="0"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800" b="0" dirty="0"/>
              <a:t>Highly Confidentia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9012A93-F35D-41B8-A960-2FAFDF3C47A5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506200" y="6429375"/>
            <a:ext cx="320040" cy="228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010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  <p:sldLayoutId id="2147483745" r:id="rId34"/>
    <p:sldLayoutId id="2147483746" r:id="rId35"/>
    <p:sldLayoutId id="2147483747" r:id="rId36"/>
    <p:sldLayoutId id="2147483748" r:id="rId37"/>
    <p:sldLayoutId id="2147483749" r:id="rId38"/>
    <p:sldLayoutId id="2147483750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200"/>
        </a:spcBef>
        <a:buFont typeface="Trebuchet MS" panose="020B0603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lnSpc>
          <a:spcPct val="100000"/>
        </a:lnSpc>
        <a:spcBef>
          <a:spcPts val="400"/>
        </a:spcBef>
        <a:buFont typeface="Trebuchet MS" panose="020B060302020202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0">
          <p15:clr>
            <a:srgbClr val="F26B43"/>
          </p15:clr>
        </p15:guide>
        <p15:guide id="2" pos="230">
          <p15:clr>
            <a:srgbClr val="F26B43"/>
          </p15:clr>
        </p15:guide>
        <p15:guide id="3" pos="7450">
          <p15:clr>
            <a:srgbClr val="F26B43"/>
          </p15:clr>
        </p15:guide>
        <p15:guide id="5" orient="horz" pos="978">
          <p15:clr>
            <a:srgbClr val="F26B43"/>
          </p15:clr>
        </p15:guide>
        <p15:guide id="6" orient="horz" pos="38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73392" y="536576"/>
            <a:ext cx="10001526" cy="587375"/>
          </a:xfrm>
          <a:prstGeom prst="rect">
            <a:avLst/>
          </a:prstGeom>
        </p:spPr>
        <p:txBody>
          <a:bodyPr vert="horz" lIns="0" tIns="45724" rIns="0" bIns="45724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3392" y="1597025"/>
            <a:ext cx="10001526" cy="4389120"/>
          </a:xfrm>
          <a:prstGeom prst="rect">
            <a:avLst/>
          </a:prstGeom>
        </p:spPr>
        <p:txBody>
          <a:bodyPr vert="horz" lIns="0" tIns="0" rIns="0" bIns="45724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314177" y="6528816"/>
            <a:ext cx="877824" cy="109728"/>
          </a:xfrm>
          <a:prstGeom prst="rect">
            <a:avLst/>
          </a:prstGeom>
        </p:spPr>
        <p:txBody>
          <a:bodyPr vert="horz" lIns="91448" tIns="0" rIns="91448" bIns="0" rtlCol="0" anchor="ctr"/>
          <a:lstStyle>
            <a:lvl1pPr algn="r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/>
              <a:pPr/>
              <a:t>11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35200" y="6135688"/>
            <a:ext cx="9434377" cy="365760"/>
          </a:xfrm>
          <a:prstGeom prst="rect">
            <a:avLst/>
          </a:prstGeom>
        </p:spPr>
        <p:txBody>
          <a:bodyPr vert="horz" lIns="0" tIns="45724" rIns="0" bIns="0" rtlCol="0" anchor="b" anchorCtr="0"/>
          <a:lstStyle>
            <a:lvl1pPr algn="r">
              <a:lnSpc>
                <a:spcPct val="9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422293" y="6657948"/>
            <a:ext cx="3769708" cy="200053"/>
          </a:xfrm>
          <a:prstGeom prst="rect">
            <a:avLst/>
          </a:prstGeom>
        </p:spPr>
        <p:txBody>
          <a:bodyPr vert="horz" lIns="91448" tIns="45724" rIns="91448" bIns="45724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2021 Mayo Foundation for Medical Education and Research  |  slide-</a:t>
            </a:r>
            <a:fld id="{D445C29B-035B-48ED-941F-A66A11A8A322}" type="slidenum">
              <a:rPr lang="en-US" sz="7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lvl="0"/>
              <a:t>‹#›</a:t>
            </a:fld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2877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</p:sldLayoutIdLst>
  <p:txStyles>
    <p:titleStyle>
      <a:lvl1pPr algn="l" defTabSz="914484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84" rtl="0" eaLnBrk="1" latinLnBrk="0" hangingPunct="1">
        <a:lnSpc>
          <a:spcPct val="90000"/>
        </a:lnSpc>
        <a:spcBef>
          <a:spcPts val="1500"/>
        </a:spcBef>
        <a:buClr>
          <a:schemeClr val="accent1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1450" algn="l" defTabSz="914484" rtl="0" eaLnBrk="1" latinLnBrk="0" hangingPunct="1">
        <a:lnSpc>
          <a:spcPct val="90000"/>
        </a:lnSpc>
        <a:spcBef>
          <a:spcPts val="600"/>
        </a:spcBef>
        <a:buClr>
          <a:schemeClr val="tx1">
            <a:lumMod val="50000"/>
            <a:lumOff val="50000"/>
          </a:schemeClr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85850" indent="-171450" algn="l" defTabSz="914484" rtl="0" eaLnBrk="1" latinLnBrk="0" hangingPunct="1">
        <a:lnSpc>
          <a:spcPct val="90000"/>
        </a:lnSpc>
        <a:spcBef>
          <a:spcPts val="600"/>
        </a:spcBef>
        <a:buClr>
          <a:schemeClr val="tx1">
            <a:lumMod val="50000"/>
            <a:lumOff val="50000"/>
          </a:schemeClr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indent="-171450" algn="l" defTabSz="914484" rtl="0" eaLnBrk="1" latinLnBrk="0" hangingPunct="1">
        <a:lnSpc>
          <a:spcPct val="90000"/>
        </a:lnSpc>
        <a:spcBef>
          <a:spcPts val="600"/>
        </a:spcBef>
        <a:buClr>
          <a:schemeClr val="tx1">
            <a:lumMod val="50000"/>
            <a:lumOff val="50000"/>
          </a:schemeClr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00250" indent="-171450" algn="l" defTabSz="914484" rtl="0" eaLnBrk="1" latinLnBrk="0" hangingPunct="1">
        <a:lnSpc>
          <a:spcPct val="90000"/>
        </a:lnSpc>
        <a:spcBef>
          <a:spcPts val="600"/>
        </a:spcBef>
        <a:buClr>
          <a:schemeClr val="tx1">
            <a:lumMod val="50000"/>
            <a:lumOff val="50000"/>
          </a:schemeClr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30" indent="-228621" algn="l" defTabSz="9144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72" indent="-228621" algn="l" defTabSz="9144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14" indent="-228621" algn="l" defTabSz="9144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56" indent="-228621" algn="l" defTabSz="9144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1" algn="l" defTabSz="9144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84" algn="l" defTabSz="9144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25" algn="l" defTabSz="9144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68" algn="l" defTabSz="9144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09" algn="l" defTabSz="9144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52" algn="l" defTabSz="9144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93" algn="l" defTabSz="9144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36" algn="l" defTabSz="9144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B6A81B58-9B13-420B-86CC-AF6EE39F60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66614"/>
              </p:ext>
            </p:extLst>
          </p:nvPr>
        </p:nvGraphicFramePr>
        <p:xfrm>
          <a:off x="508883" y="2031536"/>
          <a:ext cx="11174233" cy="248745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39665">
                  <a:extLst>
                    <a:ext uri="{9D8B030D-6E8A-4147-A177-3AD203B41FA5}">
                      <a16:colId xmlns:a16="http://schemas.microsoft.com/office/drawing/2014/main" val="3078097263"/>
                    </a:ext>
                  </a:extLst>
                </a:gridCol>
                <a:gridCol w="1572092">
                  <a:extLst>
                    <a:ext uri="{9D8B030D-6E8A-4147-A177-3AD203B41FA5}">
                      <a16:colId xmlns:a16="http://schemas.microsoft.com/office/drawing/2014/main" val="2524464680"/>
                    </a:ext>
                  </a:extLst>
                </a:gridCol>
                <a:gridCol w="1123079">
                  <a:extLst>
                    <a:ext uri="{9D8B030D-6E8A-4147-A177-3AD203B41FA5}">
                      <a16:colId xmlns:a16="http://schemas.microsoft.com/office/drawing/2014/main" val="1055175409"/>
                    </a:ext>
                  </a:extLst>
                </a:gridCol>
                <a:gridCol w="2384028">
                  <a:extLst>
                    <a:ext uri="{9D8B030D-6E8A-4147-A177-3AD203B41FA5}">
                      <a16:colId xmlns:a16="http://schemas.microsoft.com/office/drawing/2014/main" val="3804390020"/>
                    </a:ext>
                  </a:extLst>
                </a:gridCol>
                <a:gridCol w="1293482">
                  <a:extLst>
                    <a:ext uri="{9D8B030D-6E8A-4147-A177-3AD203B41FA5}">
                      <a16:colId xmlns:a16="http://schemas.microsoft.com/office/drawing/2014/main" val="951874123"/>
                    </a:ext>
                  </a:extLst>
                </a:gridCol>
                <a:gridCol w="2561887">
                  <a:extLst>
                    <a:ext uri="{9D8B030D-6E8A-4147-A177-3AD203B41FA5}">
                      <a16:colId xmlns:a16="http://schemas.microsoft.com/office/drawing/2014/main" val="4160130227"/>
                    </a:ext>
                  </a:extLst>
                </a:gridCol>
              </a:tblGrid>
              <a:tr h="82797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+mn-lt"/>
                        </a:rPr>
                        <a:t>Sam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+mn-lt"/>
                        </a:rPr>
                        <a:t>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+mn-lt"/>
                        </a:rPr>
                        <a:t># of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+mn-lt"/>
                        </a:rPr>
                        <a:t>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+mn-lt"/>
                        </a:rPr>
                        <a:t>Clinical out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+mn-lt"/>
                        </a:rPr>
                        <a:t>Objec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5244294"/>
                  </a:ext>
                </a:extLst>
              </a:tr>
              <a:tr h="16594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+mn-lt"/>
                        </a:rPr>
                        <a:t>Del17p CL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+mn-lt"/>
                        </a:rPr>
                        <a:t>(Mix of W&amp;W, 1L and R/R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+mn-lt"/>
                        </a:rPr>
                        <a:t> 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+mn-lt"/>
                        </a:rPr>
                        <a:t>Mayo Clin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</a:rPr>
                        <a:t>Peripheral blood, n=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err="1">
                          <a:latin typeface="+mn-lt"/>
                        </a:rPr>
                        <a:t>RNAseq</a:t>
                      </a:r>
                      <a:endParaRPr lang="en-US" sz="1400" b="1" dirty="0">
                        <a:latin typeface="+mn-lt"/>
                      </a:endParaRPr>
                    </a:p>
                    <a:p>
                      <a:pPr algn="ctr"/>
                      <a:r>
                        <a:rPr lang="en-US" sz="1400" b="1" dirty="0">
                          <a:latin typeface="+mn-lt"/>
                        </a:rPr>
                        <a:t>60XWGS</a:t>
                      </a:r>
                    </a:p>
                    <a:p>
                      <a:pPr algn="ctr"/>
                      <a:r>
                        <a:rPr lang="en-US" sz="1400" b="1" dirty="0" err="1">
                          <a:latin typeface="+mn-lt"/>
                        </a:rPr>
                        <a:t>ATACseq</a:t>
                      </a:r>
                      <a:endParaRPr lang="en-US" sz="1400" b="1" dirty="0">
                        <a:latin typeface="+mn-lt"/>
                      </a:endParaRPr>
                    </a:p>
                    <a:p>
                      <a:pPr algn="ctr"/>
                      <a:r>
                        <a:rPr lang="en-US" sz="1400" b="1" dirty="0">
                          <a:latin typeface="+mn-lt"/>
                        </a:rPr>
                        <a:t>Immunophenotyping</a:t>
                      </a:r>
                    </a:p>
                    <a:p>
                      <a:pPr algn="ctr"/>
                      <a:r>
                        <a:rPr lang="en-US" sz="1400" b="1" dirty="0">
                          <a:latin typeface="+mn-lt"/>
                        </a:rPr>
                        <a:t>Complex Karyotyp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 i="0" dirty="0">
                          <a:latin typeface="+mn-lt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400" dirty="0"/>
                        <a:t>Define the underlying biology of high risk del17p patients using integrated analysis of genetic, epigenetic, transcriptomic and immune profil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500019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88629A4-34B1-4ECE-A5DC-0D8C2386B7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17p Data Set</a:t>
            </a:r>
          </a:p>
        </p:txBody>
      </p:sp>
      <p:pic>
        <p:nvPicPr>
          <p:cNvPr id="6" name="Content Placeholder 9">
            <a:extLst>
              <a:ext uri="{FF2B5EF4-FFF2-40B4-BE49-F238E27FC236}">
                <a16:creationId xmlns:a16="http://schemas.microsoft.com/office/drawing/2014/main" id="{D318C8F9-7FEC-498E-8AFC-C309F9FA0D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36695" y="485030"/>
            <a:ext cx="1213899" cy="137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447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64019F-6513-4E90-AAAB-8D2AB66C2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 according to %abnormal nuclei in del17p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CC4CA81-308C-4D4C-9621-BA5C1FFCB2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12"/>
          <a:stretch/>
        </p:blipFill>
        <p:spPr bwMode="auto">
          <a:xfrm>
            <a:off x="5987481" y="1289163"/>
            <a:ext cx="5733374" cy="402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>
            <a:extLst>
              <a:ext uri="{FF2B5EF4-FFF2-40B4-BE49-F238E27FC236}">
                <a16:creationId xmlns:a16="http://schemas.microsoft.com/office/drawing/2014/main" id="{BDB06987-2724-41AE-8535-E228085702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12"/>
          <a:stretch/>
        </p:blipFill>
        <p:spPr bwMode="auto">
          <a:xfrm>
            <a:off x="253786" y="1289163"/>
            <a:ext cx="5516335" cy="387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1821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668E8E-4503-4D98-8FA8-7DA2FC06F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 according to treatment typ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9119ACF-A015-4B40-BEDA-0587307186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7261" y="1015048"/>
            <a:ext cx="7315200" cy="548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6068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4BA829-EAFE-4C98-968E-E13B01CB7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762899-042F-494D-AA17-491CC8B18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722547-74D3-476F-9037-EBD3AAFD2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89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8">
            <a:extLst>
              <a:ext uri="{FF2B5EF4-FFF2-40B4-BE49-F238E27FC236}">
                <a16:creationId xmlns:a16="http://schemas.microsoft.com/office/drawing/2014/main" id="{BBD6D750-39F0-4469-82F6-B55AC2E2524D}"/>
              </a:ext>
            </a:extLst>
          </p:cNvPr>
          <p:cNvSpPr/>
          <p:nvPr/>
        </p:nvSpPr>
        <p:spPr>
          <a:xfrm>
            <a:off x="6118973" y="4121429"/>
            <a:ext cx="2055094" cy="10515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499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gh risk defined by presence of del17p or TP53 mutation</a:t>
            </a:r>
          </a:p>
        </p:txBody>
      </p:sp>
      <p:sp>
        <p:nvSpPr>
          <p:cNvPr id="15" name="Rounded Rectangle 139">
            <a:extLst>
              <a:ext uri="{FF2B5EF4-FFF2-40B4-BE49-F238E27FC236}">
                <a16:creationId xmlns:a16="http://schemas.microsoft.com/office/drawing/2014/main" id="{7B706930-4480-430C-B530-048EC5C62C65}"/>
              </a:ext>
            </a:extLst>
          </p:cNvPr>
          <p:cNvSpPr/>
          <p:nvPr/>
        </p:nvSpPr>
        <p:spPr>
          <a:xfrm>
            <a:off x="6096000" y="2979269"/>
            <a:ext cx="2104058" cy="1051560"/>
          </a:xfrm>
          <a:prstGeom prst="rect">
            <a:avLst/>
          </a:prstGeom>
          <a:solidFill>
            <a:srgbClr val="D7EBD3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99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lder than 80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99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oor ECOG status (&gt;1)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399B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oderate to severe comorbidities- (CIRS&gt;6 and/or renal dysfunction)</a:t>
            </a:r>
          </a:p>
        </p:txBody>
      </p:sp>
      <p:sp>
        <p:nvSpPr>
          <p:cNvPr id="13" name="Rounded Rectangle 137">
            <a:extLst>
              <a:ext uri="{FF2B5EF4-FFF2-40B4-BE49-F238E27FC236}">
                <a16:creationId xmlns:a16="http://schemas.microsoft.com/office/drawing/2014/main" id="{5F8D9FC3-783A-4979-8BD2-9F0641653282}"/>
              </a:ext>
            </a:extLst>
          </p:cNvPr>
          <p:cNvSpPr/>
          <p:nvPr/>
        </p:nvSpPr>
        <p:spPr>
          <a:xfrm>
            <a:off x="6118973" y="1614488"/>
            <a:ext cx="2071997" cy="1280160"/>
          </a:xfrm>
          <a:prstGeom prst="rect">
            <a:avLst/>
          </a:prstGeom>
          <a:solidFill>
            <a:srgbClr val="CCE2F2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0C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Younger than 80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0C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ew comorbidities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bsence of del17p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B0F9E4-22BA-40FB-BB5D-61698678C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L Journey and Clinical High-Risk segmen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49C0648-AC35-410F-A6F2-B2B1E5A8C0A8}"/>
              </a:ext>
            </a:extLst>
          </p:cNvPr>
          <p:cNvGraphicFramePr>
            <a:graphicFrameLocks noGrp="1"/>
          </p:cNvGraphicFramePr>
          <p:nvPr/>
        </p:nvGraphicFramePr>
        <p:xfrm>
          <a:off x="8248978" y="1256506"/>
          <a:ext cx="3577262" cy="39226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2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41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28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859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Induction</a:t>
                      </a:r>
                    </a:p>
                  </a:txBody>
                  <a:tcPr marL="45720" marR="9144" marT="9144" marB="9144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  <a:r>
                        <a:rPr lang="en-US" sz="1200" baseline="30000" dirty="0"/>
                        <a:t>st</a:t>
                      </a:r>
                      <a:r>
                        <a:rPr lang="en-US" sz="1200" baseline="0" dirty="0"/>
                        <a:t> Relapse</a:t>
                      </a:r>
                      <a:endParaRPr lang="en-US" sz="1200" dirty="0"/>
                    </a:p>
                  </a:txBody>
                  <a:tcPr marL="45720" marR="9144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  <a:r>
                        <a:rPr lang="en-US" sz="1200" baseline="30000" dirty="0"/>
                        <a:t>nd</a:t>
                      </a:r>
                      <a:r>
                        <a:rPr lang="en-US" sz="1200" dirty="0"/>
                        <a:t> Relapse</a:t>
                      </a:r>
                    </a:p>
                  </a:txBody>
                  <a:tcPr marL="45720" marR="9144" marT="9144" marB="9144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6383">
                <a:tc>
                  <a:txBody>
                    <a:bodyPr/>
                    <a:lstStyle/>
                    <a:p>
                      <a:pPr marL="171450" indent="-17145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FCR</a:t>
                      </a:r>
                    </a:p>
                    <a:p>
                      <a:pPr marL="171450" indent="-17145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BR</a:t>
                      </a:r>
                    </a:p>
                    <a:p>
                      <a:pPr marL="171450" indent="-17145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Ibrutinib</a:t>
                      </a:r>
                    </a:p>
                    <a:p>
                      <a:pPr marL="171450" indent="-17145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 err="1"/>
                        <a:t>Venetoclax</a:t>
                      </a:r>
                      <a:r>
                        <a:rPr lang="en-US" sz="1200" b="0" dirty="0"/>
                        <a:t> + G</a:t>
                      </a:r>
                    </a:p>
                  </a:txBody>
                  <a:tcPr marL="45720" marR="9144" marT="9144" marB="9144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dirty="0"/>
                        <a:t>Ibrutinib</a:t>
                      </a:r>
                    </a:p>
                    <a:p>
                      <a:pPr marL="171450" indent="-17145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 BR</a:t>
                      </a:r>
                    </a:p>
                    <a:p>
                      <a:pPr marL="171450" indent="-17145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Venetoclax </a:t>
                      </a:r>
                      <a:r>
                        <a:rPr lang="en-US" sz="1200" b="0" dirty="0"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en-US" sz="1200" b="0" dirty="0"/>
                        <a:t> R</a:t>
                      </a:r>
                    </a:p>
                    <a:p>
                      <a:pPr marL="171450" indent="-17145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 err="1"/>
                        <a:t>Acalabrutinib</a:t>
                      </a:r>
                      <a:endParaRPr lang="en-US" sz="1200" b="0" dirty="0"/>
                    </a:p>
                  </a:txBody>
                  <a:tcPr marL="45720" marR="9144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Venetoclax </a:t>
                      </a:r>
                      <a:r>
                        <a:rPr lang="en-US" sz="1200" b="0" dirty="0"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en-US" sz="1200" b="0" dirty="0"/>
                        <a:t> R</a:t>
                      </a:r>
                    </a:p>
                    <a:p>
                      <a:pPr marL="171450" indent="-17145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Idelalisib + R</a:t>
                      </a:r>
                    </a:p>
                    <a:p>
                      <a:pPr marL="0" indent="0" algn="l">
                        <a:buClr>
                          <a:srgbClr val="0070C0"/>
                        </a:buClr>
                        <a:buFont typeface="Wingdings" panose="05000000000000000000" pitchFamily="2" charset="2"/>
                        <a:buNone/>
                      </a:pPr>
                      <a:endParaRPr lang="en-US" sz="1200" b="0" dirty="0"/>
                    </a:p>
                  </a:txBody>
                  <a:tcPr marL="45720" marR="9144" marT="9144" marB="9144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5071">
                <a:tc>
                  <a:txBody>
                    <a:bodyPr/>
                    <a:lstStyle/>
                    <a:p>
                      <a:pPr marL="171450" indent="-171450" algn="l">
                        <a:buClr>
                          <a:srgbClr val="399B24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 err="1"/>
                        <a:t>Obin</a:t>
                      </a:r>
                      <a:r>
                        <a:rPr lang="en-US" sz="1200" b="0" dirty="0"/>
                        <a:t>. + CL</a:t>
                      </a:r>
                    </a:p>
                    <a:p>
                      <a:pPr marL="171450" indent="-171450" algn="l">
                        <a:buClr>
                          <a:srgbClr val="399B24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Ibrutinib</a:t>
                      </a:r>
                    </a:p>
                    <a:p>
                      <a:pPr marL="171450" indent="-171450" algn="l">
                        <a:buClr>
                          <a:srgbClr val="399B24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 err="1"/>
                        <a:t>Venetoclax</a:t>
                      </a:r>
                      <a:r>
                        <a:rPr lang="en-US" sz="1200" b="0" dirty="0"/>
                        <a:t> + G</a:t>
                      </a:r>
                    </a:p>
                    <a:p>
                      <a:pPr marL="0" indent="0" algn="l">
                        <a:buClr>
                          <a:srgbClr val="399B24"/>
                        </a:buClr>
                        <a:buFont typeface="Wingdings" panose="05000000000000000000" pitchFamily="2" charset="2"/>
                        <a:buNone/>
                      </a:pPr>
                      <a:endParaRPr lang="en-US" sz="1200" b="0" dirty="0"/>
                    </a:p>
                  </a:txBody>
                  <a:tcPr marL="45720" marR="9144" marT="9144" marB="9144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BD3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99B24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dirty="0"/>
                        <a:t>Ibrutinib</a:t>
                      </a:r>
                    </a:p>
                    <a:p>
                      <a:pPr marL="171450" indent="-171450" algn="l">
                        <a:buClr>
                          <a:srgbClr val="399B24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Venetoclax </a:t>
                      </a:r>
                      <a:r>
                        <a:rPr lang="en-US" sz="1200" b="0" dirty="0"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en-US" sz="1200" b="0" dirty="0"/>
                        <a:t> R</a:t>
                      </a:r>
                    </a:p>
                    <a:p>
                      <a:pPr marL="171450" indent="-171450" algn="l">
                        <a:buClr>
                          <a:srgbClr val="399B24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Idelalisib + R</a:t>
                      </a:r>
                    </a:p>
                  </a:txBody>
                  <a:tcPr marL="45720" marR="9144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BD3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Clr>
                          <a:srgbClr val="399B24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CD20 mono</a:t>
                      </a:r>
                    </a:p>
                    <a:p>
                      <a:pPr marL="171450" indent="-171450" algn="l">
                        <a:buClr>
                          <a:srgbClr val="399B24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200" b="0" dirty="0"/>
                    </a:p>
                    <a:p>
                      <a:pPr marL="112713" indent="-112713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200" b="0" dirty="0"/>
                    </a:p>
                  </a:txBody>
                  <a:tcPr marL="45720" marR="9144" marT="9144" marB="9144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B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72566">
                <a:tc>
                  <a:txBody>
                    <a:bodyPr/>
                    <a:lstStyle/>
                    <a:p>
                      <a:pPr marL="171450" indent="-171450" algn="l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Ibrutinib</a:t>
                      </a:r>
                    </a:p>
                    <a:p>
                      <a:pPr marL="171450" indent="-171450" algn="l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 err="1"/>
                        <a:t>Venetoclax</a:t>
                      </a:r>
                      <a:r>
                        <a:rPr lang="en-US" sz="1200" b="0" dirty="0"/>
                        <a:t> ± G</a:t>
                      </a:r>
                    </a:p>
                    <a:p>
                      <a:pPr marL="112713" indent="-112713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200" b="0" dirty="0"/>
                    </a:p>
                    <a:p>
                      <a:pPr marL="112713" indent="-112713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200" b="0" dirty="0"/>
                    </a:p>
                  </a:txBody>
                  <a:tcPr marL="45720" marR="9144" marT="9144" marB="9144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Venetoclax </a:t>
                      </a:r>
                      <a:r>
                        <a:rPr lang="en-US" sz="1200" b="0" dirty="0"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en-US" sz="1200" b="0" dirty="0"/>
                        <a:t> R</a:t>
                      </a:r>
                    </a:p>
                    <a:p>
                      <a:pPr marL="171450" indent="-171450" algn="l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Ibrutinib</a:t>
                      </a:r>
                    </a:p>
                    <a:p>
                      <a:pPr marL="171450" indent="-171450" algn="l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Idelalisib + R</a:t>
                      </a:r>
                    </a:p>
                  </a:txBody>
                  <a:tcPr marL="45720" marR="9144" marT="9144" marB="9144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Venetoclax </a:t>
                      </a:r>
                      <a:r>
                        <a:rPr lang="en-US" sz="1200" b="0" dirty="0">
                          <a:sym typeface="Symbol" panose="05050102010706020507" pitchFamily="18" charset="2"/>
                        </a:rPr>
                        <a:t></a:t>
                      </a:r>
                      <a:r>
                        <a:rPr lang="en-US" sz="1200" b="0" dirty="0"/>
                        <a:t> R</a:t>
                      </a:r>
                    </a:p>
                    <a:p>
                      <a:pPr marL="171450" indent="-171450" algn="l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dirty="0"/>
                        <a:t>Idelalisib</a:t>
                      </a:r>
                    </a:p>
                    <a:p>
                      <a:pPr marL="112713" indent="-112713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200" b="0" dirty="0"/>
                    </a:p>
                  </a:txBody>
                  <a:tcPr marL="45720" marR="9144" marT="9144" marB="9144" anchor="ctr">
                    <a:lnL w="12700" cmpd="sng">
                      <a:noFill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F20D8028-4AD9-40E9-8319-2F589780B26D}"/>
              </a:ext>
            </a:extLst>
          </p:cNvPr>
          <p:cNvSpPr txBox="1"/>
          <p:nvPr/>
        </p:nvSpPr>
        <p:spPr>
          <a:xfrm>
            <a:off x="2852035" y="4613432"/>
            <a:ext cx="11374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YMPTOMATIC</a:t>
            </a:r>
          </a:p>
        </p:txBody>
      </p:sp>
      <p:sp>
        <p:nvSpPr>
          <p:cNvPr id="41" name="Take-away Box">
            <a:extLst>
              <a:ext uri="{FF2B5EF4-FFF2-40B4-BE49-F238E27FC236}">
                <a16:creationId xmlns:a16="http://schemas.microsoft.com/office/drawing/2014/main" id="{74E58CF6-48A3-43DF-920B-C60A4821CF7D}"/>
              </a:ext>
            </a:extLst>
          </p:cNvPr>
          <p:cNvSpPr/>
          <p:nvPr/>
        </p:nvSpPr>
        <p:spPr bwMode="blackWhite">
          <a:xfrm>
            <a:off x="229562" y="5665354"/>
            <a:ext cx="11869738" cy="369332"/>
          </a:xfrm>
          <a:prstGeom prst="rect">
            <a:avLst/>
          </a:prstGeom>
          <a:solidFill>
            <a:srgbClr val="002060"/>
          </a:solidFill>
          <a:ln w="317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el agents are  now foundational therapy in CLL but are not curativ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186B34C0-2FC1-4E08-9207-DB6EF5132F6E}"/>
              </a:ext>
            </a:extLst>
          </p:cNvPr>
          <p:cNvSpPr/>
          <p:nvPr/>
        </p:nvSpPr>
        <p:spPr>
          <a:xfrm rot="5400000">
            <a:off x="4878615" y="5162145"/>
            <a:ext cx="198314" cy="175186"/>
          </a:xfrm>
          <a:prstGeom prst="triangl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67CCDE1-6124-41E6-B155-AAA72737E866}"/>
              </a:ext>
            </a:extLst>
          </p:cNvPr>
          <p:cNvGrpSpPr/>
          <p:nvPr/>
        </p:nvGrpSpPr>
        <p:grpSpPr>
          <a:xfrm>
            <a:off x="4952647" y="1609676"/>
            <a:ext cx="1048894" cy="1280160"/>
            <a:chOff x="4263567" y="1614488"/>
            <a:chExt cx="863458" cy="1275348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AA11092-D5FF-41D7-A7EA-AECC730D97B2}"/>
                </a:ext>
              </a:extLst>
            </p:cNvPr>
            <p:cNvSpPr/>
            <p:nvPr/>
          </p:nvSpPr>
          <p:spPr>
            <a:xfrm>
              <a:off x="4263567" y="1614488"/>
              <a:ext cx="863458" cy="1275348"/>
            </a:xfrm>
            <a:prstGeom prst="rect">
              <a:avLst/>
            </a:prstGeom>
            <a:solidFill>
              <a:srgbClr val="0070C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rtlCol="0" anchor="b" anchorCtr="0"/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STANDARD RISK</a:t>
              </a:r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2A22118A-BEE3-414F-A206-C48359717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71500" y="1699547"/>
              <a:ext cx="664522" cy="670618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D8A059A-E9C6-4413-91BA-37DCE635190F}"/>
              </a:ext>
            </a:extLst>
          </p:cNvPr>
          <p:cNvGrpSpPr/>
          <p:nvPr/>
        </p:nvGrpSpPr>
        <p:grpSpPr>
          <a:xfrm>
            <a:off x="4952643" y="2979269"/>
            <a:ext cx="1048899" cy="1051560"/>
            <a:chOff x="4347131" y="3258566"/>
            <a:chExt cx="895269" cy="1051560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51969D0-1793-4F7B-B17C-1307B0AAFE3D}"/>
                </a:ext>
              </a:extLst>
            </p:cNvPr>
            <p:cNvSpPr/>
            <p:nvPr/>
          </p:nvSpPr>
          <p:spPr>
            <a:xfrm>
              <a:off x="4347131" y="3258566"/>
              <a:ext cx="895269" cy="1051560"/>
            </a:xfrm>
            <a:prstGeom prst="rect">
              <a:avLst/>
            </a:prstGeom>
            <a:solidFill>
              <a:srgbClr val="399B2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rtlCol="0" anchor="b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FRAIL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4E18FBDE-044C-4B2B-A278-2C98007F58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62504" y="3331243"/>
              <a:ext cx="664522" cy="670618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1A3C139-4FE5-436C-8D9E-715E5313CB3E}"/>
              </a:ext>
            </a:extLst>
          </p:cNvPr>
          <p:cNvGrpSpPr/>
          <p:nvPr/>
        </p:nvGrpSpPr>
        <p:grpSpPr>
          <a:xfrm>
            <a:off x="4952642" y="4121429"/>
            <a:ext cx="1048899" cy="1051560"/>
            <a:chOff x="3998552" y="4680023"/>
            <a:chExt cx="1226356" cy="1051560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FE0A39E-08F6-4C53-AE5F-A4C8CB07F90C}"/>
                </a:ext>
              </a:extLst>
            </p:cNvPr>
            <p:cNvSpPr/>
            <p:nvPr/>
          </p:nvSpPr>
          <p:spPr>
            <a:xfrm>
              <a:off x="3998552" y="4680023"/>
              <a:ext cx="1226356" cy="105156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rtlCol="0" anchor="b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HIGH RISK</a:t>
              </a: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F43C42E4-E83C-44AE-822F-F0A75D087C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79468" y="4712845"/>
              <a:ext cx="664522" cy="670618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F269FB5-DA0F-44A9-8B0C-60ED2974D3A9}"/>
              </a:ext>
            </a:extLst>
          </p:cNvPr>
          <p:cNvGrpSpPr/>
          <p:nvPr/>
        </p:nvGrpSpPr>
        <p:grpSpPr>
          <a:xfrm>
            <a:off x="1433562" y="2934217"/>
            <a:ext cx="865996" cy="1051558"/>
            <a:chOff x="504825" y="2855953"/>
            <a:chExt cx="1179272" cy="827037"/>
          </a:xfrm>
        </p:grpSpPr>
        <p:sp>
          <p:nvSpPr>
            <p:cNvPr id="39" name="Rounded Rectangle 140">
              <a:extLst>
                <a:ext uri="{FF2B5EF4-FFF2-40B4-BE49-F238E27FC236}">
                  <a16:creationId xmlns:a16="http://schemas.microsoft.com/office/drawing/2014/main" id="{510F85DF-6D70-4C45-BD93-FBFBC5C6776E}"/>
                </a:ext>
              </a:extLst>
            </p:cNvPr>
            <p:cNvSpPr/>
            <p:nvPr/>
          </p:nvSpPr>
          <p:spPr bwMode="auto">
            <a:xfrm>
              <a:off x="504825" y="2855953"/>
              <a:ext cx="1179272" cy="827037"/>
            </a:xfrm>
            <a:prstGeom prst="rect">
              <a:avLst/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rtlCol="0" anchor="b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ATCH &amp; WAI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~40%)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FCC6D60D-A933-4125-AAEE-9CBC70D24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7837" y="2873990"/>
              <a:ext cx="518022" cy="301955"/>
            </a:xfrm>
            <a:prstGeom prst="rect">
              <a:avLst/>
            </a:prstGeom>
          </p:spPr>
        </p:pic>
      </p:grp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A540DCD-F838-4A81-A71C-EA158C3D076D}"/>
              </a:ext>
            </a:extLst>
          </p:cNvPr>
          <p:cNvCxnSpPr>
            <a:cxnSpLocks/>
          </p:cNvCxnSpPr>
          <p:nvPr/>
        </p:nvCxnSpPr>
        <p:spPr>
          <a:xfrm>
            <a:off x="2401569" y="3456246"/>
            <a:ext cx="242874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F0833F54-740D-4922-8183-14166FE98AE3}"/>
              </a:ext>
            </a:extLst>
          </p:cNvPr>
          <p:cNvCxnSpPr>
            <a:cxnSpLocks/>
          </p:cNvCxnSpPr>
          <p:nvPr/>
        </p:nvCxnSpPr>
        <p:spPr>
          <a:xfrm>
            <a:off x="4120444" y="2453818"/>
            <a:ext cx="8050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885F128-D017-472F-AADF-5FE96F793D0F}"/>
              </a:ext>
            </a:extLst>
          </p:cNvPr>
          <p:cNvCxnSpPr>
            <a:cxnSpLocks/>
          </p:cNvCxnSpPr>
          <p:nvPr/>
        </p:nvCxnSpPr>
        <p:spPr>
          <a:xfrm>
            <a:off x="4120444" y="4556279"/>
            <a:ext cx="8050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E11FA3C-1C9E-4B18-AEA7-2B4EDD33046B}"/>
              </a:ext>
            </a:extLst>
          </p:cNvPr>
          <p:cNvCxnSpPr>
            <a:cxnSpLocks/>
          </p:cNvCxnSpPr>
          <p:nvPr/>
        </p:nvCxnSpPr>
        <p:spPr>
          <a:xfrm>
            <a:off x="4120444" y="2453818"/>
            <a:ext cx="0" cy="29460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65CFF1B2-ECD2-4971-BD45-B4D5CEE13128}"/>
              </a:ext>
            </a:extLst>
          </p:cNvPr>
          <p:cNvCxnSpPr>
            <a:cxnSpLocks/>
            <a:stCxn id="20" idx="2"/>
          </p:cNvCxnSpPr>
          <p:nvPr/>
        </p:nvCxnSpPr>
        <p:spPr>
          <a:xfrm rot="16200000" flipH="1">
            <a:off x="1791364" y="2771780"/>
            <a:ext cx="1113375" cy="3228469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EAC2EBE-CE57-4A3D-8AF6-B654C8C88780}"/>
              </a:ext>
            </a:extLst>
          </p:cNvPr>
          <p:cNvCxnSpPr>
            <a:cxnSpLocks/>
          </p:cNvCxnSpPr>
          <p:nvPr/>
        </p:nvCxnSpPr>
        <p:spPr>
          <a:xfrm>
            <a:off x="866086" y="3459996"/>
            <a:ext cx="53373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AB25EC44-5BB8-4043-9E9E-80357B61188A}"/>
              </a:ext>
            </a:extLst>
          </p:cNvPr>
          <p:cNvSpPr txBox="1"/>
          <p:nvPr/>
        </p:nvSpPr>
        <p:spPr>
          <a:xfrm>
            <a:off x="150163" y="3090664"/>
            <a:ext cx="116730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LL Diagno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&amp; Risk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tratifica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634EF04-A4F9-4529-B3C4-F9A8AA1F5B50}"/>
              </a:ext>
            </a:extLst>
          </p:cNvPr>
          <p:cNvSpPr txBox="1"/>
          <p:nvPr/>
        </p:nvSpPr>
        <p:spPr>
          <a:xfrm>
            <a:off x="1208911" y="2637907"/>
            <a:ext cx="12288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SYMPTOMATIC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6A1F01B-2340-4522-BD23-2618F76B1E4E}"/>
              </a:ext>
            </a:extLst>
          </p:cNvPr>
          <p:cNvSpPr txBox="1"/>
          <p:nvPr/>
        </p:nvSpPr>
        <p:spPr>
          <a:xfrm>
            <a:off x="2890715" y="3164979"/>
            <a:ext cx="11374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YMPTOMATIC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EA33E6E-6839-42F8-962E-24292C24868A}"/>
              </a:ext>
            </a:extLst>
          </p:cNvPr>
          <p:cNvSpPr/>
          <p:nvPr/>
        </p:nvSpPr>
        <p:spPr>
          <a:xfrm>
            <a:off x="8248978" y="5234085"/>
            <a:ext cx="3577263" cy="3693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ICHTER’s TRANSFORMAT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1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-CHOP, R-EPOCH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FEE9F16-A957-44AC-9A0B-4F954CFCD48E}"/>
              </a:ext>
            </a:extLst>
          </p:cNvPr>
          <p:cNvCxnSpPr>
            <a:cxnSpLocks/>
          </p:cNvCxnSpPr>
          <p:nvPr/>
        </p:nvCxnSpPr>
        <p:spPr>
          <a:xfrm>
            <a:off x="4120444" y="5413014"/>
            <a:ext cx="8050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F1E3167-B54E-42CE-B2E4-1155E68212BF}"/>
              </a:ext>
            </a:extLst>
          </p:cNvPr>
          <p:cNvSpPr/>
          <p:nvPr/>
        </p:nvSpPr>
        <p:spPr>
          <a:xfrm>
            <a:off x="4925542" y="4094948"/>
            <a:ext cx="3274516" cy="1120287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0BE6A8B-A749-4259-8448-48D7457725F2}"/>
              </a:ext>
            </a:extLst>
          </p:cNvPr>
          <p:cNvSpPr/>
          <p:nvPr/>
        </p:nvSpPr>
        <p:spPr>
          <a:xfrm>
            <a:off x="8226118" y="5209339"/>
            <a:ext cx="3622981" cy="41966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41C9D0E-2D85-42E4-9DEA-664EA8055FA0}"/>
              </a:ext>
            </a:extLst>
          </p:cNvPr>
          <p:cNvSpPr txBox="1"/>
          <p:nvPr/>
        </p:nvSpPr>
        <p:spPr>
          <a:xfrm>
            <a:off x="11034584" y="6167798"/>
            <a:ext cx="1064716" cy="2285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allek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AJH, 2019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32E753F-9E7F-4120-9DDE-FA3DACE7DE71}"/>
              </a:ext>
            </a:extLst>
          </p:cNvPr>
          <p:cNvSpPr/>
          <p:nvPr/>
        </p:nvSpPr>
        <p:spPr>
          <a:xfrm>
            <a:off x="9464048" y="1254582"/>
            <a:ext cx="2384012" cy="284036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2661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6" grpId="0" animBg="1"/>
      <p:bldP spid="4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50160C-6BAA-4A8D-B99D-F63CA43AE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atment algorithm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2CB9A30-6CBB-4399-B669-7A2A8B6828A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44190" y="1568767"/>
            <a:ext cx="4645098" cy="45720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46D4D3-22DC-4A98-A64D-EB86C4B84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14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A375EA-7BFB-4DE4-9601-8C15CFDE0B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8968" y="1280161"/>
            <a:ext cx="5012876" cy="4331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87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2261E-B80B-492A-8FD5-9B32410836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L staging and prognostic fa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8E89A3-F081-4D46-881C-75506F218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D9DDFE1C-5E8A-48A6-AA64-09FCCC4CE8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86231" y="6028006"/>
            <a:ext cx="2161202" cy="36353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13607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/>
            </a:pPr>
            <a:r>
              <a:rPr kumimoji="0" lang="en-US" alt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j-ea"/>
                <a:cs typeface="Arial Unicode MS" pitchFamily="32" charset="0"/>
              </a:rPr>
              <a:t> </a:t>
            </a:r>
            <a:r>
              <a:rPr kumimoji="0" lang="en-US" alt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j-ea"/>
                <a:cs typeface="Arial Unicode MS" pitchFamily="32" charset="0"/>
              </a:rPr>
              <a:t>Damle</a:t>
            </a:r>
            <a:r>
              <a:rPr kumimoji="0" lang="en-US" alt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j-ea"/>
                <a:cs typeface="Arial Unicode MS" pitchFamily="32" charset="0"/>
              </a:rPr>
              <a:t> et.al., Blood 1999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/>
            </a:pPr>
            <a:r>
              <a:rPr kumimoji="0" lang="en-US" alt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j-ea"/>
                <a:cs typeface="Arial Unicode MS" pitchFamily="32" charset="0"/>
              </a:rPr>
              <a:t>Döhner</a:t>
            </a:r>
            <a:r>
              <a:rPr kumimoji="0" lang="en-US" alt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j-ea"/>
                <a:cs typeface="Arial Unicode MS" pitchFamily="32" charset="0"/>
              </a:rPr>
              <a:t> H et al. N </a:t>
            </a:r>
            <a:r>
              <a:rPr kumimoji="0" lang="en-US" alt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j-ea"/>
                <a:cs typeface="Arial Unicode MS" pitchFamily="32" charset="0"/>
              </a:rPr>
              <a:t>Engl</a:t>
            </a:r>
            <a:r>
              <a:rPr kumimoji="0" lang="en-US" alt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j-ea"/>
                <a:cs typeface="Arial Unicode MS" pitchFamily="32" charset="0"/>
              </a:rPr>
              <a:t> J Med 200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8D88833-6E9B-4382-8145-2BA35B185570}"/>
              </a:ext>
            </a:extLst>
          </p:cNvPr>
          <p:cNvSpPr/>
          <p:nvPr/>
        </p:nvSpPr>
        <p:spPr>
          <a:xfrm>
            <a:off x="312287" y="5125011"/>
            <a:ext cx="120373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Genomic aberrations are independent predictors of disease progression and survival</a:t>
            </a:r>
          </a:p>
        </p:txBody>
      </p:sp>
      <p:pic>
        <p:nvPicPr>
          <p:cNvPr id="8" name="Content Placeholder 3">
            <a:extLst>
              <a:ext uri="{FF2B5EF4-FFF2-40B4-BE49-F238E27FC236}">
                <a16:creationId xmlns:a16="http://schemas.microsoft.com/office/drawing/2014/main" id="{42D3BBD1-6496-44DB-9878-17A59EF3E14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78171" y="1570571"/>
            <a:ext cx="3356711" cy="238160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1D825AC-A650-485E-8BB9-DEC4D9124DE5}"/>
              </a:ext>
            </a:extLst>
          </p:cNvPr>
          <p:cNvSpPr txBox="1"/>
          <p:nvPr/>
        </p:nvSpPr>
        <p:spPr>
          <a:xfrm>
            <a:off x="438692" y="174793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97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68D9D7-7FFE-4EF6-B178-71EDB517A41F}"/>
              </a:ext>
            </a:extLst>
          </p:cNvPr>
          <p:cNvSpPr txBox="1"/>
          <p:nvPr/>
        </p:nvSpPr>
        <p:spPr>
          <a:xfrm>
            <a:off x="435116" y="266233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98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80ED1B-52AF-4DEA-9145-DA8D91029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2950" y="1549259"/>
            <a:ext cx="3121026" cy="240291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4BCEE1A-F113-4AC5-9A38-816DEB95C76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23"/>
          <a:stretch/>
        </p:blipFill>
        <p:spPr>
          <a:xfrm>
            <a:off x="5092700" y="1549259"/>
            <a:ext cx="2241549" cy="240291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EBB2166-EE65-4030-8468-C7F5654A6CC6}"/>
              </a:ext>
            </a:extLst>
          </p:cNvPr>
          <p:cNvSpPr txBox="1"/>
          <p:nvPr/>
        </p:nvSpPr>
        <p:spPr>
          <a:xfrm>
            <a:off x="5873750" y="383517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Years from diagnosi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7259F7-FDBB-4A32-9057-31DEF70B51F8}"/>
              </a:ext>
            </a:extLst>
          </p:cNvPr>
          <p:cNvSpPr txBox="1"/>
          <p:nvPr/>
        </p:nvSpPr>
        <p:spPr>
          <a:xfrm>
            <a:off x="2082800" y="421061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tag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6580976-4CBD-4D56-9EB4-397A31E73782}"/>
              </a:ext>
            </a:extLst>
          </p:cNvPr>
          <p:cNvSpPr txBox="1"/>
          <p:nvPr/>
        </p:nvSpPr>
        <p:spPr>
          <a:xfrm>
            <a:off x="5638800" y="42215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GHV statu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500ABC-6849-4E1E-A255-D1F7F6ED2366}"/>
              </a:ext>
            </a:extLst>
          </p:cNvPr>
          <p:cNvSpPr txBox="1"/>
          <p:nvPr/>
        </p:nvSpPr>
        <p:spPr>
          <a:xfrm>
            <a:off x="9429750" y="421061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ytogenetics</a:t>
            </a:r>
          </a:p>
        </p:txBody>
      </p:sp>
    </p:spTree>
    <p:extLst>
      <p:ext uri="{BB962C8B-B14F-4D97-AF65-F5344CB8AC3E}">
        <p14:creationId xmlns:p14="http://schemas.microsoft.com/office/powerpoint/2010/main" val="386563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4E80A-6391-4772-AF29-DC0744A12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Del17p/TP53 mutated popu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5B03AE-DF87-4166-A419-211D31EBB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34F5309-317D-4846-8BA9-496F70A4FCFB}"/>
              </a:ext>
            </a:extLst>
          </p:cNvPr>
          <p:cNvSpPr/>
          <p:nvPr/>
        </p:nvSpPr>
        <p:spPr>
          <a:xfrm>
            <a:off x="365760" y="1088637"/>
            <a:ext cx="10767678" cy="169781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EE9F19-9C81-47D4-8AB5-12A358F97B40}"/>
              </a:ext>
            </a:extLst>
          </p:cNvPr>
          <p:cNvSpPr txBox="1"/>
          <p:nvPr/>
        </p:nvSpPr>
        <p:spPr>
          <a:xfrm>
            <a:off x="638707" y="1137994"/>
            <a:ext cx="10221783" cy="206210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el17p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-10% in 1L CLL ; 40% in r/r CLL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el17p and/or p53 mutation status alone is currently defined as high risk in CLL, however is associated with heterogeneity in outcom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ghly associated with Complex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Karyoytp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umerical and structural cytogenetic abnormalities as tested by chromosome banding analysi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esent in 10-30% CLL populati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onventionally defined as ≥ 3 abnormalities in at least 10 metaphases. Recently ≥ 5 abnormalities defined as high risk CK independent of clinical or other genetic facto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F9A5728-3197-4DB4-8A89-5A3EB91ACB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144" y="3357399"/>
            <a:ext cx="1599133" cy="156333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DB410F6-1DFA-4621-9887-67B3018DECEA}"/>
              </a:ext>
            </a:extLst>
          </p:cNvPr>
          <p:cNvSpPr txBox="1"/>
          <p:nvPr/>
        </p:nvSpPr>
        <p:spPr>
          <a:xfrm>
            <a:off x="-137867" y="2915112"/>
            <a:ext cx="328381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L CLL with Ven-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bino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nd chemo (CLL14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68A7DA5-2E62-4F9A-96B2-7506BD6FE9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2805" y="3657904"/>
            <a:ext cx="1833562" cy="128833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E484D38-1B1E-4A93-846E-90BD1E39D0AE}"/>
              </a:ext>
            </a:extLst>
          </p:cNvPr>
          <p:cNvSpPr txBox="1"/>
          <p:nvPr/>
        </p:nvSpPr>
        <p:spPr>
          <a:xfrm>
            <a:off x="2992805" y="2965871"/>
            <a:ext cx="1560110" cy="3090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/R CLL with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brutnib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(RESONATE)</a:t>
            </a:r>
          </a:p>
        </p:txBody>
      </p:sp>
      <p:pic>
        <p:nvPicPr>
          <p:cNvPr id="16" name="Picture 2" descr="/var/folders/tl/8llhgjqj6rj6r2zr9cm20zp5_d2ff1/T/com.microsoft.Powerpoint/WebArchiveCopyPasteTempFiles/ImagePictures_7033755.jpg">
            <a:extLst>
              <a:ext uri="{FF2B5EF4-FFF2-40B4-BE49-F238E27FC236}">
                <a16:creationId xmlns:a16="http://schemas.microsoft.com/office/drawing/2014/main" id="{E7CBD1BE-7FC1-47AD-A761-D63692EE25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51" b="15972"/>
          <a:stretch/>
        </p:blipFill>
        <p:spPr bwMode="auto">
          <a:xfrm>
            <a:off x="991800" y="5011729"/>
            <a:ext cx="1589169" cy="1245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95DF0A5-3A0E-4482-BBD1-F02307A6B7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80622" y="4946234"/>
            <a:ext cx="1749057" cy="128833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2E1262B-612E-442A-A5AE-4B12E31355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7462" y="3326988"/>
            <a:ext cx="3997189" cy="290757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11F44B4-7F2C-4B0C-A8A3-B33500F5081B}"/>
              </a:ext>
            </a:extLst>
          </p:cNvPr>
          <p:cNvSpPr txBox="1"/>
          <p:nvPr/>
        </p:nvSpPr>
        <p:spPr>
          <a:xfrm rot="16200000">
            <a:off x="6520223" y="4327900"/>
            <a:ext cx="11392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% Alive</a:t>
            </a:r>
          </a:p>
        </p:txBody>
      </p:sp>
    </p:spTree>
    <p:extLst>
      <p:ext uri="{BB962C8B-B14F-4D97-AF65-F5344CB8AC3E}">
        <p14:creationId xmlns:p14="http://schemas.microsoft.com/office/powerpoint/2010/main" val="244318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4E80A-6391-4772-AF29-DC0744A12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del17p Population –Unmet need with novel ag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5B03AE-DF87-4166-A419-211D31EBB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EE9F19-9C81-47D4-8AB5-12A358F97B40}"/>
              </a:ext>
            </a:extLst>
          </p:cNvPr>
          <p:cNvSpPr txBox="1"/>
          <p:nvPr/>
        </p:nvSpPr>
        <p:spPr>
          <a:xfrm>
            <a:off x="430489" y="5469276"/>
            <a:ext cx="1077849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vel targeted therapies minimize prognostic impact of TP53 alterations but presence of del(17p) and/or TP53 mutation is the only factor associated with increased probability of MRD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at EOI and progressive disea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F9A5728-3197-4DB4-8A89-5A3EB91ACB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2146" y="1377498"/>
            <a:ext cx="2747106" cy="268560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DB410F6-1DFA-4621-9887-67B3018DECEA}"/>
              </a:ext>
            </a:extLst>
          </p:cNvPr>
          <p:cNvSpPr txBox="1"/>
          <p:nvPr/>
        </p:nvSpPr>
        <p:spPr>
          <a:xfrm>
            <a:off x="1853768" y="4224509"/>
            <a:ext cx="243883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LL 14 Trial in 1L C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enetoclax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G vs 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lb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G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484D38-1B1E-4A93-846E-90BD1E39D0AE}"/>
              </a:ext>
            </a:extLst>
          </p:cNvPr>
          <p:cNvSpPr txBox="1"/>
          <p:nvPr/>
        </p:nvSpPr>
        <p:spPr>
          <a:xfrm>
            <a:off x="6096000" y="4566496"/>
            <a:ext cx="3434315" cy="64332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SONATE Trial i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rCL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(Ibrutinib vs Ofatumumab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1E11F4F-C141-49FB-8A6A-00FFFCCA4AC0}"/>
              </a:ext>
            </a:extLst>
          </p:cNvPr>
          <p:cNvSpPr/>
          <p:nvPr/>
        </p:nvSpPr>
        <p:spPr>
          <a:xfrm>
            <a:off x="10649735" y="5995492"/>
            <a:ext cx="14462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l-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awaf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EHA 2019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rown, Leukemia, 2017;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1BE7E1-71B7-4C17-B070-DB597D42E7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504968"/>
            <a:ext cx="3355021" cy="2633984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154D1BA-B316-4F34-A235-282108900A61}"/>
              </a:ext>
            </a:extLst>
          </p:cNvPr>
          <p:cNvCxnSpPr>
            <a:cxnSpLocks/>
          </p:cNvCxnSpPr>
          <p:nvPr/>
        </p:nvCxnSpPr>
        <p:spPr>
          <a:xfrm flipV="1">
            <a:off x="8574969" y="2610463"/>
            <a:ext cx="0" cy="1193186"/>
          </a:xfrm>
          <a:prstGeom prst="straightConnector1">
            <a:avLst/>
          </a:prstGeom>
          <a:ln w="12700" cap="sq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DEE9CAB5-E3C7-4DEC-B759-9A1CC7B9536E}"/>
              </a:ext>
            </a:extLst>
          </p:cNvPr>
          <p:cNvSpPr/>
          <p:nvPr/>
        </p:nvSpPr>
        <p:spPr>
          <a:xfrm>
            <a:off x="6376220" y="4210409"/>
            <a:ext cx="25671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FS by del17p and TP53 subgroup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97448ED9-77DF-4CD4-B5D1-3AD281096E5E}"/>
              </a:ext>
            </a:extLst>
          </p:cNvPr>
          <p:cNvCxnSpPr>
            <a:cxnSpLocks/>
          </p:cNvCxnSpPr>
          <p:nvPr/>
        </p:nvCxnSpPr>
        <p:spPr>
          <a:xfrm flipV="1">
            <a:off x="3446923" y="2070039"/>
            <a:ext cx="0" cy="1659534"/>
          </a:xfrm>
          <a:prstGeom prst="straightConnector1">
            <a:avLst/>
          </a:prstGeom>
          <a:ln w="12700" cap="sq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56219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Post novel agent relapsed popu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3059" y="1489747"/>
            <a:ext cx="4657261" cy="2866532"/>
          </a:xfrm>
        </p:spPr>
        <p:txBody>
          <a:bodyPr/>
          <a:lstStyle/>
          <a:p>
            <a:r>
              <a:rPr lang="en-US" dirty="0"/>
              <a:t>Disease progression on Ibrutinib/</a:t>
            </a:r>
            <a:r>
              <a:rPr lang="en-US" dirty="0" err="1"/>
              <a:t>Venetoclax</a:t>
            </a:r>
            <a:r>
              <a:rPr lang="en-US" dirty="0"/>
              <a:t> remains challenging to treat</a:t>
            </a:r>
          </a:p>
          <a:p>
            <a:pPr lvl="1"/>
            <a:r>
              <a:rPr lang="en-US" dirty="0"/>
              <a:t>Improved PFS with novel agents but remain high risk for progression</a:t>
            </a:r>
          </a:p>
          <a:p>
            <a:r>
              <a:rPr lang="en-US" dirty="0"/>
              <a:t>Two major types of disease progression:</a:t>
            </a:r>
          </a:p>
          <a:p>
            <a:pPr lvl="1"/>
            <a:r>
              <a:rPr lang="en-US" dirty="0"/>
              <a:t>CLL progression</a:t>
            </a:r>
          </a:p>
          <a:p>
            <a:pPr lvl="1"/>
            <a:r>
              <a:rPr lang="en-US" dirty="0"/>
              <a:t>Progression to large cell lymphoma (DLBCL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17" y="1279683"/>
            <a:ext cx="3808572" cy="2113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11391" y="6002923"/>
            <a:ext cx="39569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ddock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JAMA Oncolog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2015;1(1):80 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1758779" y="2336254"/>
            <a:ext cx="0" cy="248437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D24E594-33F8-4EFE-A977-3B3BD2C972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349" y="3483065"/>
            <a:ext cx="2632759" cy="213723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83330A0-4A20-49D6-A16F-7F3592CB90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4108" y="3941012"/>
            <a:ext cx="2957526" cy="163730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7F58838-2726-45E7-B5A7-44FACDC1C5E5}"/>
              </a:ext>
            </a:extLst>
          </p:cNvPr>
          <p:cNvSpPr/>
          <p:nvPr/>
        </p:nvSpPr>
        <p:spPr>
          <a:xfrm>
            <a:off x="365760" y="5710535"/>
            <a:ext cx="53351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esence of del(17p) and/or TP53 mutation associated with increased probability of MRD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and PD after EOT. (R/R CLL, MURANO Trial,/ Ven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itx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1269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72C2C-3CFA-434B-995A-235E6C53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published in del17p CLL?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285292D-326D-4459-9C3C-873C9BC0285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91464" y="1009703"/>
          <a:ext cx="11534776" cy="50062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1847">
                  <a:extLst>
                    <a:ext uri="{9D8B030D-6E8A-4147-A177-3AD203B41FA5}">
                      <a16:colId xmlns:a16="http://schemas.microsoft.com/office/drawing/2014/main" val="2173437788"/>
                    </a:ext>
                  </a:extLst>
                </a:gridCol>
                <a:gridCol w="847329">
                  <a:extLst>
                    <a:ext uri="{9D8B030D-6E8A-4147-A177-3AD203B41FA5}">
                      <a16:colId xmlns:a16="http://schemas.microsoft.com/office/drawing/2014/main" val="3160970569"/>
                    </a:ext>
                  </a:extLst>
                </a:gridCol>
                <a:gridCol w="1346200">
                  <a:extLst>
                    <a:ext uri="{9D8B030D-6E8A-4147-A177-3AD203B41FA5}">
                      <a16:colId xmlns:a16="http://schemas.microsoft.com/office/drawing/2014/main" val="3459809020"/>
                    </a:ext>
                  </a:extLst>
                </a:gridCol>
                <a:gridCol w="1797050">
                  <a:extLst>
                    <a:ext uri="{9D8B030D-6E8A-4147-A177-3AD203B41FA5}">
                      <a16:colId xmlns:a16="http://schemas.microsoft.com/office/drawing/2014/main" val="3252075757"/>
                    </a:ext>
                  </a:extLst>
                </a:gridCol>
                <a:gridCol w="1776809">
                  <a:extLst>
                    <a:ext uri="{9D8B030D-6E8A-4147-A177-3AD203B41FA5}">
                      <a16:colId xmlns:a16="http://schemas.microsoft.com/office/drawing/2014/main" val="2468893608"/>
                    </a:ext>
                  </a:extLst>
                </a:gridCol>
                <a:gridCol w="4325541">
                  <a:extLst>
                    <a:ext uri="{9D8B030D-6E8A-4147-A177-3AD203B41FA5}">
                      <a16:colId xmlns:a16="http://schemas.microsoft.com/office/drawing/2014/main" val="4141221636"/>
                    </a:ext>
                  </a:extLst>
                </a:gridCol>
              </a:tblGrid>
              <a:tr h="47619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Stud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rea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P53/del17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ss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Find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0887493"/>
                  </a:ext>
                </a:extLst>
              </a:tr>
              <a:tr h="310834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Rossi et.al., 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9+ 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err="1"/>
                        <a:t>nd</a:t>
                      </a:r>
                      <a:endParaRPr lang="en-US" sz="1100" dirty="0"/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36% got FCR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13 samples at relap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46 (25 are del17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TP53 NGS (2500x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Cytogenetics availabl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BIRC3, MYD88, SF3B1 and NOTCH1 mut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mall TP53 mutated subclones occur in a significant fraction of newly diagnosed CLL (15% NGS vs 9% Sanger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mall TP53 mutated subclones have the same unfavorable prognostic impact as clonal defects (5-year OS: 46.3% vs 36%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mall TP53 mutated subclones detected at diagnosis expanded under the selective pressure of treat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1008381"/>
                  </a:ext>
                </a:extLst>
              </a:tr>
              <a:tr h="476197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Delgado et.al., 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err="1"/>
                        <a:t>nd</a:t>
                      </a:r>
                      <a:r>
                        <a:rPr lang="en-US" sz="1100" dirty="0"/>
                        <a:t> and trea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55 (40 are del17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CBA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NP Arr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genomic complexity and IGHV mutational status are the main predictors of OS in CLL patients with TP53 disru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7891924"/>
                  </a:ext>
                </a:extLst>
              </a:tr>
              <a:tr h="476197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Yu et.al., 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err="1"/>
                        <a:t>nd</a:t>
                      </a:r>
                      <a:endParaRPr lang="en-US" sz="110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51% del17/19% WT were treated (F/B/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/>
                        <a:t>69 del17p </a:t>
                      </a:r>
                    </a:p>
                    <a:p>
                      <a:pPr algn="l"/>
                      <a:r>
                        <a:rPr lang="en-US" sz="1100" dirty="0"/>
                        <a:t>(mix of watch and wait and treate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NP Arra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ES 80X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anger Sequencing TP53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F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/>
                        <a:t>More CNAs were seen in del(17p) than WT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/>
                        <a:t>del(17p) CLL has a longer total length of deleted (97Mb vs 1.2Mb);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/>
                        <a:t>del(17p) CLL cases have recurrent deletions at 3p, 4p, or 9p and 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s a unique driver mutation profile (NOTCH1, RPS15, DDX3X, and GPS2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/>
                        <a:t>81% of del17p have TP53 mutations, clonal mutations are prognostic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/>
                        <a:t>Complex karyotyping and CNAs predict need for treat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9361697"/>
                  </a:ext>
                </a:extLst>
              </a:tr>
              <a:tr h="476197"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Yuan et al.,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Watch and wa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/>
                        <a:t>41 (30 are del17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Cytogenetic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anger sequenc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wer percentage of cells with del(17p) predicted better survival</a:t>
                      </a:r>
                      <a:endParaRPr lang="en-US" sz="1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561249"/>
                  </a:ext>
                </a:extLst>
              </a:tr>
              <a:tr h="476197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 err="1"/>
                        <a:t>Brieghel</a:t>
                      </a:r>
                      <a:r>
                        <a:rPr lang="en-US" sz="1100" b="0" dirty="0"/>
                        <a:t> et al.,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 err="1"/>
                        <a:t>nd</a:t>
                      </a:r>
                      <a:r>
                        <a:rPr lang="en-US" sz="1100" b="0" dirty="0"/>
                        <a:t> + R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/>
                        <a:t>Ibrutinib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/>
                        <a:t>47 are del17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/>
                        <a:t>FISH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/>
                        <a:t>P53 by 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tients with multi-hit P53 (</a:t>
                      </a:r>
                      <a:r>
                        <a:rPr lang="en-US" sz="1100" b="1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s</a:t>
                      </a:r>
                      <a:r>
                        <a:rPr lang="en-US" sz="11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ingle hit) have a significantly shorter overall survival, PFS and time-to-progression (TTP)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823565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56A453-5848-4B9D-99DF-319C01B88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205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60E6F-653C-4D6C-BD25-3C89C9ADA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441387"/>
            <a:ext cx="11460480" cy="914400"/>
          </a:xfrm>
        </p:spPr>
        <p:txBody>
          <a:bodyPr/>
          <a:lstStyle/>
          <a:p>
            <a:r>
              <a:rPr lang="en-US" dirty="0"/>
              <a:t>Current Sample statu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4C66A05D-7338-4DEB-9EB0-A7942881C46E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139435995"/>
              </p:ext>
            </p:extLst>
          </p:nvPr>
        </p:nvGraphicFramePr>
        <p:xfrm>
          <a:off x="970141" y="1547288"/>
          <a:ext cx="10415169" cy="3235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3034">
                  <a:extLst>
                    <a:ext uri="{9D8B030D-6E8A-4147-A177-3AD203B41FA5}">
                      <a16:colId xmlns:a16="http://schemas.microsoft.com/office/drawing/2014/main" val="3048037350"/>
                    </a:ext>
                  </a:extLst>
                </a:gridCol>
                <a:gridCol w="2382614">
                  <a:extLst>
                    <a:ext uri="{9D8B030D-6E8A-4147-A177-3AD203B41FA5}">
                      <a16:colId xmlns:a16="http://schemas.microsoft.com/office/drawing/2014/main" val="3568552174"/>
                    </a:ext>
                  </a:extLst>
                </a:gridCol>
                <a:gridCol w="1783453">
                  <a:extLst>
                    <a:ext uri="{9D8B030D-6E8A-4147-A177-3AD203B41FA5}">
                      <a16:colId xmlns:a16="http://schemas.microsoft.com/office/drawing/2014/main" val="1062375107"/>
                    </a:ext>
                  </a:extLst>
                </a:gridCol>
                <a:gridCol w="2083034">
                  <a:extLst>
                    <a:ext uri="{9D8B030D-6E8A-4147-A177-3AD203B41FA5}">
                      <a16:colId xmlns:a16="http://schemas.microsoft.com/office/drawing/2014/main" val="4044062863"/>
                    </a:ext>
                  </a:extLst>
                </a:gridCol>
                <a:gridCol w="2083034">
                  <a:extLst>
                    <a:ext uri="{9D8B030D-6E8A-4147-A177-3AD203B41FA5}">
                      <a16:colId xmlns:a16="http://schemas.microsoft.com/office/drawing/2014/main" val="6320256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Ba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Samples received</a:t>
                      </a:r>
                    </a:p>
                    <a:p>
                      <a:pPr algn="ctr"/>
                      <a:r>
                        <a:rPr lang="en-US" sz="1800" dirty="0"/>
                        <a:t>(PBM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60X/30X</a:t>
                      </a:r>
                    </a:p>
                    <a:p>
                      <a:pPr algn="ctr"/>
                      <a:r>
                        <a:rPr lang="en-US" sz="1800" dirty="0"/>
                        <a:t>W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err="1"/>
                        <a:t>RNAseq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Data process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9138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ilot Stud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2 CD19+ DNA/RNA</a:t>
                      </a:r>
                    </a:p>
                    <a:p>
                      <a:pPr algn="ctr"/>
                      <a:r>
                        <a:rPr lang="en-US" sz="1600" dirty="0"/>
                        <a:t>12 CD19- D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2T/10G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Initial processing through pipeli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585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atch 1/ March 30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5 CD19+ DNA/RNA</a:t>
                      </a:r>
                    </a:p>
                    <a:p>
                      <a:pPr algn="ctr"/>
                      <a:r>
                        <a:rPr lang="en-US" sz="1600" dirty="0"/>
                        <a:t>25 CD19- DNA</a:t>
                      </a:r>
                    </a:p>
                    <a:p>
                      <a:pPr algn="ctr"/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3T/23G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ata received</a:t>
                      </a:r>
                      <a:r>
                        <a:rPr lang="en-US" sz="1600" baseline="0" dirty="0"/>
                        <a:t> from EA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Initiated for WG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882567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atch 2/ Jun 16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1 CD19+ DNA/RNA</a:t>
                      </a:r>
                    </a:p>
                    <a:p>
                      <a:pPr algn="ctr"/>
                      <a:r>
                        <a:rPr lang="en-US" sz="1600" dirty="0"/>
                        <a:t>21 CD19- DNA</a:t>
                      </a:r>
                    </a:p>
                    <a:p>
                      <a:pPr algn="ctr"/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1T/21G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Data received</a:t>
                      </a:r>
                      <a:r>
                        <a:rPr lang="en-US" sz="1600" baseline="0" dirty="0"/>
                        <a:t> from EA</a:t>
                      </a:r>
                      <a:endParaRPr lang="en-US" sz="1600" dirty="0"/>
                    </a:p>
                    <a:p>
                      <a:pPr algn="ctr"/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Initiated for WG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6865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o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8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1831571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E5B953-1F4B-4EE5-80F6-553A496EE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AFFCCE-39DC-420D-B5AE-17C9DB3D5DF3}"/>
              </a:ext>
            </a:extLst>
          </p:cNvPr>
          <p:cNvSpPr txBox="1"/>
          <p:nvPr/>
        </p:nvSpPr>
        <p:spPr>
          <a:xfrm>
            <a:off x="886899" y="53107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Trebuchet MS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GS data processing is initiated and expected to take 3-4 weeks</a:t>
            </a:r>
          </a:p>
        </p:txBody>
      </p:sp>
    </p:spTree>
    <p:extLst>
      <p:ext uri="{BB962C8B-B14F-4D97-AF65-F5344CB8AC3E}">
        <p14:creationId xmlns:p14="http://schemas.microsoft.com/office/powerpoint/2010/main" val="424505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5A925-B696-419D-A878-0E5341EF2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17P Pilot Study* (n=12) </a:t>
            </a:r>
          </a:p>
        </p:txBody>
      </p:sp>
      <p:graphicFrame>
        <p:nvGraphicFramePr>
          <p:cNvPr id="6" name="Table 10">
            <a:extLst>
              <a:ext uri="{FF2B5EF4-FFF2-40B4-BE49-F238E27FC236}">
                <a16:creationId xmlns:a16="http://schemas.microsoft.com/office/drawing/2014/main" id="{941B47D4-C79D-45E9-BCE3-0261FE54D356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7428934" y="1480268"/>
          <a:ext cx="4178490" cy="4047588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835698">
                  <a:extLst>
                    <a:ext uri="{9D8B030D-6E8A-4147-A177-3AD203B41FA5}">
                      <a16:colId xmlns:a16="http://schemas.microsoft.com/office/drawing/2014/main" val="791552751"/>
                    </a:ext>
                  </a:extLst>
                </a:gridCol>
                <a:gridCol w="835698">
                  <a:extLst>
                    <a:ext uri="{9D8B030D-6E8A-4147-A177-3AD203B41FA5}">
                      <a16:colId xmlns:a16="http://schemas.microsoft.com/office/drawing/2014/main" val="2602289259"/>
                    </a:ext>
                  </a:extLst>
                </a:gridCol>
                <a:gridCol w="835698">
                  <a:extLst>
                    <a:ext uri="{9D8B030D-6E8A-4147-A177-3AD203B41FA5}">
                      <a16:colId xmlns:a16="http://schemas.microsoft.com/office/drawing/2014/main" val="498602645"/>
                    </a:ext>
                  </a:extLst>
                </a:gridCol>
                <a:gridCol w="835698">
                  <a:extLst>
                    <a:ext uri="{9D8B030D-6E8A-4147-A177-3AD203B41FA5}">
                      <a16:colId xmlns:a16="http://schemas.microsoft.com/office/drawing/2014/main" val="748025889"/>
                    </a:ext>
                  </a:extLst>
                </a:gridCol>
                <a:gridCol w="835698">
                  <a:extLst>
                    <a:ext uri="{9D8B030D-6E8A-4147-A177-3AD203B41FA5}">
                      <a16:colId xmlns:a16="http://schemas.microsoft.com/office/drawing/2014/main" val="1659496615"/>
                    </a:ext>
                  </a:extLst>
                </a:gridCol>
              </a:tblGrid>
              <a:tr h="7215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mple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 (ug)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 TIN 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 live cell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matic</a:t>
                      </a:r>
                    </a:p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utation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lls</a:t>
                      </a:r>
                    </a:p>
                  </a:txBody>
                  <a:tcPr marL="9654" marR="9654" marT="9525" marB="0" anchor="b"/>
                </a:tc>
                <a:extLst>
                  <a:ext uri="{0D108BD9-81ED-4DB2-BD59-A6C34878D82A}">
                    <a16:rowId xmlns:a16="http://schemas.microsoft.com/office/drawing/2014/main" val="2465149750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27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798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9.1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1795861584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46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.2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.7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3076815249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9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84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0.1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729637412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97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.40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.6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.4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249698910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2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021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.5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2.5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3229688309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46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778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4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6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289190637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34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954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3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8.3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4239643531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0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094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1.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2150133672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96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18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9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3.8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2312567908"/>
                  </a:ext>
                </a:extLst>
              </a:tr>
              <a:tr h="3326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9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332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17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.7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654" marR="9654" marT="9525" marB="0" anchor="ctr"/>
                </a:tc>
                <a:extLst>
                  <a:ext uri="{0D108BD9-81ED-4DB2-BD59-A6C34878D82A}">
                    <a16:rowId xmlns:a16="http://schemas.microsoft.com/office/drawing/2014/main" val="1526526832"/>
                  </a:ext>
                </a:extLst>
              </a:tr>
            </a:tbl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57B16B2-EDCB-4459-959D-549AA77B3E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4024" y="1172343"/>
            <a:ext cx="6357374" cy="4047588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/>
              <a:t>Objective (for NGS)</a:t>
            </a:r>
          </a:p>
          <a:p>
            <a:r>
              <a:rPr lang="en-US" sz="1400" dirty="0"/>
              <a:t>Determine tumor and germline purity achieved by using cell fractionation</a:t>
            </a:r>
          </a:p>
          <a:p>
            <a:r>
              <a:rPr lang="en-US" sz="1400" dirty="0"/>
              <a:t>Define the effect of high tumor in normal contamination on variant calling Do we need to define a threshold for contamination?</a:t>
            </a:r>
          </a:p>
          <a:p>
            <a:pPr marL="0" indent="0">
              <a:buNone/>
            </a:pPr>
            <a:r>
              <a:rPr lang="en-US" sz="1800" b="1" dirty="0"/>
              <a:t>Plan</a:t>
            </a:r>
          </a:p>
          <a:p>
            <a:r>
              <a:rPr lang="en-US" sz="1400" dirty="0"/>
              <a:t>N=12 PBMC samples from patients with del17p (± complex karyotype) selected for NGS, </a:t>
            </a:r>
            <a:r>
              <a:rPr lang="en-US" sz="1400" dirty="0" err="1"/>
              <a:t>immunophenotypying</a:t>
            </a:r>
            <a:r>
              <a:rPr lang="en-US" sz="1400" dirty="0"/>
              <a:t>, CK and bulk </a:t>
            </a:r>
            <a:r>
              <a:rPr lang="en-US" sz="1400" dirty="0" err="1"/>
              <a:t>ATACseq</a:t>
            </a:r>
            <a:endParaRPr lang="en-US" sz="1400" dirty="0"/>
          </a:p>
          <a:p>
            <a:r>
              <a:rPr lang="en-US" sz="1400" dirty="0"/>
              <a:t>For NGS, Mayo optimized fractionation; contamination below&lt;10%</a:t>
            </a:r>
          </a:p>
          <a:p>
            <a:pPr marL="0" indent="0">
              <a:buNone/>
            </a:pPr>
            <a:r>
              <a:rPr lang="en-US" sz="1800" b="1" dirty="0"/>
              <a:t>Results</a:t>
            </a:r>
          </a:p>
          <a:p>
            <a:r>
              <a:rPr lang="en-US" sz="1400" dirty="0"/>
              <a:t>Very low RNA yield using EA protocol.; Mayo to extract DNA/RNA</a:t>
            </a:r>
          </a:p>
          <a:p>
            <a:r>
              <a:rPr lang="en-US" sz="1400" dirty="0"/>
              <a:t>Variant calls by </a:t>
            </a:r>
            <a:r>
              <a:rPr lang="en-US" sz="1400" dirty="0" err="1"/>
              <a:t>Mutect</a:t>
            </a:r>
            <a:r>
              <a:rPr lang="en-US" sz="1400" dirty="0"/>
              <a:t> on standard pipeline; no association of variant calls to contamination</a:t>
            </a:r>
          </a:p>
          <a:p>
            <a:r>
              <a:rPr lang="en-US" sz="1400" dirty="0"/>
              <a:t>Samples to be run on alternative tumor and control pipeline; check against hotspot mutations in CLL for further confidence in data</a:t>
            </a:r>
          </a:p>
          <a:p>
            <a:r>
              <a:rPr lang="en-US" sz="1400" dirty="0"/>
              <a:t>CNV calling by Battenberg ongo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C84AD2-6A5F-4974-88AC-ADC8055F0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FC7B1A-93E8-4D8C-9F92-F825E803C943}"/>
              </a:ext>
            </a:extLst>
          </p:cNvPr>
          <p:cNvSpPr txBox="1"/>
          <p:nvPr/>
        </p:nvSpPr>
        <p:spPr>
          <a:xfrm>
            <a:off x="9892752" y="608647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buSzPct val="100000"/>
            </a:pPr>
            <a:r>
              <a:rPr lang="en-US" sz="1200" dirty="0"/>
              <a:t>* See slide deck for details</a:t>
            </a:r>
          </a:p>
        </p:txBody>
      </p:sp>
    </p:spTree>
    <p:extLst>
      <p:ext uri="{BB962C8B-B14F-4D97-AF65-F5344CB8AC3E}">
        <p14:creationId xmlns:p14="http://schemas.microsoft.com/office/powerpoint/2010/main" val="125312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06647-8F52-4510-AEF9-7217F63A8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is Plan for WGS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674E43-365E-4F85-A154-DDEBD23322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7008" y="1396351"/>
            <a:ext cx="11460480" cy="4572000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sz="2000" dirty="0"/>
              <a:t>Assess data quality of WG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Tumor in normal contamination? (checking data with Mayo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Patient demographic and clinical characteristics of the final cohort ( after data QC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/>
              <a:t>Genomic landscape of the Del17p cohort</a:t>
            </a:r>
          </a:p>
          <a:p>
            <a:pPr lvl="1"/>
            <a:r>
              <a:rPr lang="en-US" dirty="0"/>
              <a:t>Identify driver genes associated with Del17p patient profile</a:t>
            </a:r>
          </a:p>
          <a:p>
            <a:pPr lvl="1"/>
            <a:r>
              <a:rPr lang="en-US" dirty="0"/>
              <a:t>P53 status to identify bi-allelic group</a:t>
            </a:r>
          </a:p>
          <a:p>
            <a:pPr lvl="1"/>
            <a:r>
              <a:rPr lang="en-US" dirty="0"/>
              <a:t>CNVs associated with Del17p</a:t>
            </a:r>
          </a:p>
          <a:p>
            <a:pPr marL="22860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algn="l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E9ED27-1B45-4918-B755-058F825E3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DE5F1-E0F9-4CCA-92B7-7A6FC4DFEE14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70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E8F25-B277-4F3D-AB64-EB88893A9B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17p cohort (Project 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D91D60-3C43-49B6-8765-89ADD0F639FC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en-US" dirty="0"/>
              <a:t>Baseline characteristics</a:t>
            </a:r>
          </a:p>
          <a:p>
            <a:r>
              <a:rPr lang="en-US" dirty="0"/>
              <a:t>Overall survival</a:t>
            </a:r>
          </a:p>
        </p:txBody>
      </p:sp>
    </p:spTree>
    <p:extLst>
      <p:ext uri="{BB962C8B-B14F-4D97-AF65-F5344CB8AC3E}">
        <p14:creationId xmlns:p14="http://schemas.microsoft.com/office/powerpoint/2010/main" val="29887260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17CBD-63A4-4E25-BD5A-0917B66E9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line characteristics (n=58)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F6A0400E-2F84-4BBC-9C0B-E9E7A223724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720425" y="1259097"/>
          <a:ext cx="6990266" cy="448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7373">
                  <a:extLst>
                    <a:ext uri="{9D8B030D-6E8A-4147-A177-3AD203B41FA5}">
                      <a16:colId xmlns:a16="http://schemas.microsoft.com/office/drawing/2014/main" val="2076160139"/>
                    </a:ext>
                  </a:extLst>
                </a:gridCol>
                <a:gridCol w="2367373">
                  <a:extLst>
                    <a:ext uri="{9D8B030D-6E8A-4147-A177-3AD203B41FA5}">
                      <a16:colId xmlns:a16="http://schemas.microsoft.com/office/drawing/2014/main" val="70736215"/>
                    </a:ext>
                  </a:extLst>
                </a:gridCol>
                <a:gridCol w="2255520">
                  <a:extLst>
                    <a:ext uri="{9D8B030D-6E8A-4147-A177-3AD203B41FA5}">
                      <a16:colId xmlns:a16="http://schemas.microsoft.com/office/drawing/2014/main" val="4272377788"/>
                    </a:ext>
                  </a:extLst>
                </a:gridCol>
              </a:tblGrid>
              <a:tr h="252699">
                <a:tc gridSpan="2">
                  <a:txBody>
                    <a:bodyPr/>
                    <a:lstStyle/>
                    <a:p>
                      <a:r>
                        <a:rPr lang="en-US" dirty="0"/>
                        <a:t>Characteristic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 (%) or [range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4795184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Number of patient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5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2352906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l17p by FIS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0402235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edian age, year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69 [44-86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6303474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ale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34 (5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698129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edian time from CLL diagnosis to sample analysis, year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0.1 [0.1 – 26.1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079649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Years from diagnosis to treatment, year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0.8 [0.8 – 27.4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6080924"/>
                  </a:ext>
                </a:extLst>
              </a:tr>
              <a:tr h="370840">
                <a:tc rowSpan="4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harlson co-morbidity ind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ow (0-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38 (6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97015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Intermediate (4-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2 (2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745815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High (6-7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6 (1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975248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Very high (≥8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 (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2608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03836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518DE-809A-4CDA-8F13-43E825D1F6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606" y="175320"/>
            <a:ext cx="11318788" cy="587375"/>
          </a:xfrm>
        </p:spPr>
        <p:txBody>
          <a:bodyPr/>
          <a:lstStyle/>
          <a:p>
            <a:r>
              <a:rPr lang="en-US" dirty="0"/>
              <a:t>Baseline characteristics (n=58)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CE9E90A-692B-4A4D-8F97-2019077CAC2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692055" y="673443"/>
          <a:ext cx="6867944" cy="60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3778">
                  <a:extLst>
                    <a:ext uri="{9D8B030D-6E8A-4147-A177-3AD203B41FA5}">
                      <a16:colId xmlns:a16="http://schemas.microsoft.com/office/drawing/2014/main" val="835559364"/>
                    </a:ext>
                  </a:extLst>
                </a:gridCol>
                <a:gridCol w="553442">
                  <a:extLst>
                    <a:ext uri="{9D8B030D-6E8A-4147-A177-3AD203B41FA5}">
                      <a16:colId xmlns:a16="http://schemas.microsoft.com/office/drawing/2014/main" val="2430895128"/>
                    </a:ext>
                  </a:extLst>
                </a:gridCol>
                <a:gridCol w="2278626">
                  <a:extLst>
                    <a:ext uri="{9D8B030D-6E8A-4147-A177-3AD203B41FA5}">
                      <a16:colId xmlns:a16="http://schemas.microsoft.com/office/drawing/2014/main" val="1863585500"/>
                    </a:ext>
                  </a:extLst>
                </a:gridCol>
                <a:gridCol w="2342098">
                  <a:extLst>
                    <a:ext uri="{9D8B030D-6E8A-4147-A177-3AD203B41FA5}">
                      <a16:colId xmlns:a16="http://schemas.microsoft.com/office/drawing/2014/main" val="1799258555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r>
                        <a:rPr lang="en-US" dirty="0"/>
                        <a:t>Characteristic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 (%) or [range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1839646"/>
                  </a:ext>
                </a:extLst>
              </a:tr>
              <a:tr h="370840">
                <a:tc rowSpan="5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Rai Stage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7 (3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117037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5 (2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693613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7 (1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050318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4 (7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71558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1 (2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189071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utated </a:t>
                      </a:r>
                      <a:r>
                        <a:rPr lang="en-US" i="1" dirty="0">
                          <a:solidFill>
                            <a:schemeClr val="tx1"/>
                          </a:solidFill>
                        </a:rPr>
                        <a:t>TP53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(n=24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8 (7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574563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Unmutated </a:t>
                      </a:r>
                      <a:r>
                        <a:rPr lang="en-US" i="1" dirty="0">
                          <a:solidFill>
                            <a:schemeClr val="tx1"/>
                          </a:solidFill>
                        </a:rPr>
                        <a:t>IGHV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(n=53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34 (6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2244777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D38 ≥ 30% (n=56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7 (4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346763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ZAP-70 ≥ 20% (n=51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6 (5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2885157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D49d ≥ 30% (n=51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2 (4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9505270"/>
                  </a:ext>
                </a:extLst>
              </a:tr>
              <a:tr h="370840">
                <a:tc rowSpan="5"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LL FISH abnormalities other than del17p*</a:t>
                      </a:r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l13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354123"/>
                  </a:ext>
                </a:extLst>
              </a:tr>
              <a:tr h="370840">
                <a:tc gridSpan="2"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l11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8769340"/>
                  </a:ext>
                </a:extLst>
              </a:tr>
              <a:tr h="370840">
                <a:tc gridSpan="2"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Trisomy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5856027"/>
                  </a:ext>
                </a:extLst>
              </a:tr>
              <a:tr h="370840">
                <a:tc gridSpan="2"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t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6091881"/>
                  </a:ext>
                </a:extLst>
              </a:tr>
              <a:tr h="370840">
                <a:tc gridSpan="2"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ole del17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578103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E25B8EC-8DA1-4BFF-BF7E-721DED745ED3}"/>
              </a:ext>
            </a:extLst>
          </p:cNvPr>
          <p:cNvSpPr txBox="1"/>
          <p:nvPr/>
        </p:nvSpPr>
        <p:spPr>
          <a:xfrm>
            <a:off x="8741935" y="5851685"/>
            <a:ext cx="31962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600" dirty="0">
                <a:solidFill>
                  <a:srgbClr val="000000"/>
                </a:solidFill>
                <a:latin typeface="Arial"/>
              </a:rPr>
              <a:t>*total exceeds 58 since some patients may have multiple FISH abnormalities</a:t>
            </a:r>
          </a:p>
        </p:txBody>
      </p:sp>
    </p:spTree>
    <p:extLst>
      <p:ext uri="{BB962C8B-B14F-4D97-AF65-F5344CB8AC3E}">
        <p14:creationId xmlns:p14="http://schemas.microsoft.com/office/powerpoint/2010/main" val="42767924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63252D-8868-4F82-8DB3-84BEBCDD7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line characteristics (n=58)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7CBD478-2D82-4219-ABBF-B325244370C7}"/>
              </a:ext>
            </a:extLst>
          </p:cNvPr>
          <p:cNvGraphicFramePr>
            <a:graphicFrameLocks noGrp="1"/>
          </p:cNvGraphicFramePr>
          <p:nvPr/>
        </p:nvGraphicFramePr>
        <p:xfrm>
          <a:off x="1612930" y="1011542"/>
          <a:ext cx="8339967" cy="5166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8628">
                  <a:extLst>
                    <a:ext uri="{9D8B030D-6E8A-4147-A177-3AD203B41FA5}">
                      <a16:colId xmlns:a16="http://schemas.microsoft.com/office/drawing/2014/main" val="3713620589"/>
                    </a:ext>
                  </a:extLst>
                </a:gridCol>
                <a:gridCol w="2708628">
                  <a:extLst>
                    <a:ext uri="{9D8B030D-6E8A-4147-A177-3AD203B41FA5}">
                      <a16:colId xmlns:a16="http://schemas.microsoft.com/office/drawing/2014/main" val="2001471623"/>
                    </a:ext>
                  </a:extLst>
                </a:gridCol>
                <a:gridCol w="2922711">
                  <a:extLst>
                    <a:ext uri="{9D8B030D-6E8A-4147-A177-3AD203B41FA5}">
                      <a16:colId xmlns:a16="http://schemas.microsoft.com/office/drawing/2014/main" val="1735726958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US" dirty="0"/>
                        <a:t>Type of treatm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 (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61701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Untreate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6 (27%; median follow-up 7.9 months [0 – 139]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9254954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entostatin-based trea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894021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F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8982331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TKi-based therap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Ibrutinib-based trea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632278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calabrutinib-based trea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8816409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Monoclonal antibody-based trea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lemtuzumab + rituximab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618489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Rituximab +/- methylprednisol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6168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ther**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715324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F314F4C-82F2-4636-9C7B-F4154CB72882}"/>
              </a:ext>
            </a:extLst>
          </p:cNvPr>
          <p:cNvSpPr txBox="1"/>
          <p:nvPr/>
        </p:nvSpPr>
        <p:spPr>
          <a:xfrm>
            <a:off x="792420" y="6245517"/>
            <a:ext cx="4132798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987"/>
            <a:r>
              <a:rPr lang="en-US" sz="1400" dirty="0">
                <a:solidFill>
                  <a:srgbClr val="000000"/>
                </a:solidFill>
                <a:latin typeface="Arial"/>
              </a:rPr>
              <a:t>*Given as part of an early intervention protocol</a:t>
            </a:r>
          </a:p>
          <a:p>
            <a:pPr defTabSz="1218987"/>
            <a:r>
              <a:rPr lang="en-US" sz="1400" dirty="0">
                <a:solidFill>
                  <a:srgbClr val="000000"/>
                </a:solidFill>
                <a:latin typeface="Arial"/>
              </a:rPr>
              <a:t>**including chlorambucil (n=1) and R-CHOP (n=2)</a:t>
            </a:r>
          </a:p>
          <a:p>
            <a:pPr marL="342900" indent="-342900" defTabSz="1218987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23684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91746-4D58-4E4B-8494-09ADC9D8F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 for the entire coh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9FF918-F75D-4650-9E36-55628AA323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790D781-A863-447C-A216-FCF23088D3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1"/>
          <a:stretch/>
        </p:blipFill>
        <p:spPr bwMode="auto">
          <a:xfrm>
            <a:off x="229072" y="1079157"/>
            <a:ext cx="5729775" cy="404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D195BAF-21EA-4723-8A4D-E6B6B38E6A26}"/>
              </a:ext>
            </a:extLst>
          </p:cNvPr>
          <p:cNvSpPr txBox="1"/>
          <p:nvPr/>
        </p:nvSpPr>
        <p:spPr>
          <a:xfrm>
            <a:off x="1991604" y="5335500"/>
            <a:ext cx="25506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987"/>
            <a:r>
              <a:rPr lang="en-US" dirty="0">
                <a:solidFill>
                  <a:srgbClr val="000000"/>
                </a:solidFill>
                <a:latin typeface="Arial"/>
              </a:rPr>
              <a:t>Median OS = 7.1 years</a:t>
            </a: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37EF810C-E738-4708-AE4F-2E343F57CE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13"/>
          <a:stretch/>
        </p:blipFill>
        <p:spPr bwMode="auto">
          <a:xfrm>
            <a:off x="5898290" y="1079157"/>
            <a:ext cx="5952200" cy="4177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CCCEB1D-D686-40B9-BDCE-9DCC85ADACB4}"/>
              </a:ext>
            </a:extLst>
          </p:cNvPr>
          <p:cNvSpPr txBox="1"/>
          <p:nvPr/>
        </p:nvSpPr>
        <p:spPr>
          <a:xfrm>
            <a:off x="7934627" y="5302810"/>
            <a:ext cx="32914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987"/>
            <a:r>
              <a:rPr lang="en-US" dirty="0">
                <a:solidFill>
                  <a:srgbClr val="000000"/>
                </a:solidFill>
                <a:latin typeface="Arial"/>
              </a:rPr>
              <a:t>No difference in OS according to </a:t>
            </a:r>
            <a:r>
              <a:rPr lang="en-US" i="1" dirty="0">
                <a:solidFill>
                  <a:srgbClr val="000000"/>
                </a:solidFill>
                <a:latin typeface="Arial"/>
              </a:rPr>
              <a:t>IGHV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 mutation status</a:t>
            </a:r>
          </a:p>
        </p:txBody>
      </p:sp>
    </p:spTree>
    <p:extLst>
      <p:ext uri="{BB962C8B-B14F-4D97-AF65-F5344CB8AC3E}">
        <p14:creationId xmlns:p14="http://schemas.microsoft.com/office/powerpoint/2010/main" val="10124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q5CJkAlY4KRueEviL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1XfrAT3sLZszbN8OX9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N33c5xSm6ujlYtHePRJA"/>
</p:tagLst>
</file>

<file path=ppt/theme/theme1.xml><?xml version="1.0" encoding="utf-8"?>
<a:theme xmlns:a="http://schemas.openxmlformats.org/drawingml/2006/main" name="Bristol Myers Squibb">
  <a:themeElements>
    <a:clrScheme name="Bristol Myers Squibb Colors">
      <a:dk1>
        <a:srgbClr val="595454"/>
      </a:dk1>
      <a:lt1>
        <a:srgbClr val="FFFFFF"/>
      </a:lt1>
      <a:dk2>
        <a:srgbClr val="595454"/>
      </a:dk2>
      <a:lt2>
        <a:srgbClr val="EEE7E7"/>
      </a:lt2>
      <a:accent1>
        <a:srgbClr val="595454"/>
      </a:accent1>
      <a:accent2>
        <a:srgbClr val="FFD186"/>
      </a:accent2>
      <a:accent3>
        <a:srgbClr val="59FFB9"/>
      </a:accent3>
      <a:accent4>
        <a:srgbClr val="A69F9F"/>
      </a:accent4>
      <a:accent5>
        <a:srgbClr val="33D6F1"/>
      </a:accent5>
      <a:accent6>
        <a:srgbClr val="FDA97D"/>
      </a:accent6>
      <a:hlink>
        <a:srgbClr val="595454"/>
      </a:hlink>
      <a:folHlink>
        <a:srgbClr val="595454"/>
      </a:folHlink>
    </a:clrScheme>
    <a:fontScheme name="Bristol Myers Squibb 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Bristol Myers Squibb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20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28600" indent="-228600">
          <a:lnSpc>
            <a:spcPct val="100000"/>
          </a:lnSpc>
          <a:spcBef>
            <a:spcPts val="1200"/>
          </a:spcBef>
          <a:buSzPct val="100000"/>
          <a:buFont typeface="Trebuchet MS"/>
          <a:buChar char="•"/>
          <a:defRPr sz="2000"/>
        </a:defPPr>
      </a:lstStyle>
    </a:txDef>
  </a:objectDefaults>
  <a:extraClrSchemeLst/>
  <a:custClrLst>
    <a:custClr name="Purple">
      <a:srgbClr val="BE2BBB"/>
    </a:custClr>
    <a:custClr name="Dark Gray">
      <a:srgbClr val="595454"/>
    </a:custClr>
    <a:custClr name="Gray">
      <a:srgbClr val="A69F9F"/>
    </a:custClr>
    <a:custClr name="Light Gray">
      <a:srgbClr val="EEE7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Amber 2">
      <a:srgbClr val="FFD186"/>
    </a:custClr>
    <a:custClr name="Amber 1">
      <a:srgbClr val="FFECCD"/>
    </a:custClr>
    <a:custClr name="Peach 2">
      <a:srgbClr val="FDA97D"/>
    </a:custClr>
    <a:custClr name="Peach 1">
      <a:srgbClr val="FEDCCA"/>
    </a:custClr>
    <a:custClr name="Sienna 2">
      <a:srgbClr val="CB7C78"/>
    </a:custClr>
    <a:custClr name="Sienna 1">
      <a:srgbClr val="DAC5C5"/>
    </a:custClr>
    <a:custClr name="Mint 2">
      <a:srgbClr val="59FFB9"/>
    </a:custClr>
    <a:custClr name="Mint 1">
      <a:srgbClr val="C5FFE6"/>
    </a:custClr>
    <a:custClr name="Aqua 2">
      <a:srgbClr val="33D6F1"/>
    </a:custClr>
    <a:custClr name="Aqua 1">
      <a:srgbClr val="C0F2FB"/>
    </a:custClr>
  </a:custClrLst>
  <a:extLst>
    <a:ext uri="{05A4C25C-085E-4340-85A3-A5531E510DB2}">
      <thm15:themeFamily xmlns:thm15="http://schemas.microsoft.com/office/thememl/2012/main" name="BMS PowerPoint Template 28Feb2020" id="{0895FA39-87D9-4FFB-AE45-CFAF2734F0F6}" vid="{A72F8218-4743-4B1B-A885-BA1DCF34E058}"/>
    </a:ext>
  </a:extLst>
</a:theme>
</file>

<file path=ppt/theme/theme2.xml><?xml version="1.0" encoding="utf-8"?>
<a:theme xmlns:a="http://schemas.openxmlformats.org/drawingml/2006/main" name="1_Bristol Myers Squibb">
  <a:themeElements>
    <a:clrScheme name="Bristol Myers Squibb Colors">
      <a:dk1>
        <a:srgbClr val="595454"/>
      </a:dk1>
      <a:lt1>
        <a:srgbClr val="FFFFFF"/>
      </a:lt1>
      <a:dk2>
        <a:srgbClr val="595454"/>
      </a:dk2>
      <a:lt2>
        <a:srgbClr val="EEE7E7"/>
      </a:lt2>
      <a:accent1>
        <a:srgbClr val="595454"/>
      </a:accent1>
      <a:accent2>
        <a:srgbClr val="FFD186"/>
      </a:accent2>
      <a:accent3>
        <a:srgbClr val="59FFB9"/>
      </a:accent3>
      <a:accent4>
        <a:srgbClr val="A69F9F"/>
      </a:accent4>
      <a:accent5>
        <a:srgbClr val="33D6F1"/>
      </a:accent5>
      <a:accent6>
        <a:srgbClr val="FDA97D"/>
      </a:accent6>
      <a:hlink>
        <a:srgbClr val="595454"/>
      </a:hlink>
      <a:folHlink>
        <a:srgbClr val="595454"/>
      </a:folHlink>
    </a:clrScheme>
    <a:fontScheme name="Bristol Myers Squibb 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Bristol Myers Squibb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20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28600" indent="-228600">
          <a:lnSpc>
            <a:spcPct val="100000"/>
          </a:lnSpc>
          <a:spcBef>
            <a:spcPts val="1200"/>
          </a:spcBef>
          <a:buSzPct val="100000"/>
          <a:buFont typeface="Trebuchet MS"/>
          <a:buChar char="•"/>
          <a:defRPr sz="2000"/>
        </a:defPPr>
      </a:lstStyle>
    </a:txDef>
  </a:objectDefaults>
  <a:extraClrSchemeLst/>
  <a:custClrLst>
    <a:custClr name="Purple">
      <a:srgbClr val="BE2BBB"/>
    </a:custClr>
    <a:custClr name="Dark Gray">
      <a:srgbClr val="595454"/>
    </a:custClr>
    <a:custClr name="Gray">
      <a:srgbClr val="A69F9F"/>
    </a:custClr>
    <a:custClr name="Light Gray">
      <a:srgbClr val="EEE7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Amber 2">
      <a:srgbClr val="FFD186"/>
    </a:custClr>
    <a:custClr name="Amber 1">
      <a:srgbClr val="FFECCD"/>
    </a:custClr>
    <a:custClr name="Peach 2">
      <a:srgbClr val="FDA97D"/>
    </a:custClr>
    <a:custClr name="Peach 1">
      <a:srgbClr val="FEDCCA"/>
    </a:custClr>
    <a:custClr name="Sienna 2">
      <a:srgbClr val="CB7C78"/>
    </a:custClr>
    <a:custClr name="Sienna 1">
      <a:srgbClr val="DAC5C5"/>
    </a:custClr>
    <a:custClr name="Mint 2">
      <a:srgbClr val="59FFB9"/>
    </a:custClr>
    <a:custClr name="Mint 1">
      <a:srgbClr val="C5FFE6"/>
    </a:custClr>
    <a:custClr name="Aqua 2">
      <a:srgbClr val="33D6F1"/>
    </a:custClr>
    <a:custClr name="Aqua 1">
      <a:srgbClr val="C0F2FB"/>
    </a:custClr>
  </a:custClrLst>
  <a:extLst>
    <a:ext uri="{05A4C25C-085E-4340-85A3-A5531E510DB2}">
      <thm15:themeFamily xmlns:thm15="http://schemas.microsoft.com/office/thememl/2012/main" name="BMS PowerPoint Template 28Feb2020" id="{0895FA39-87D9-4FFB-AE45-CFAF2734F0F6}" vid="{A72F8218-4743-4B1B-A885-BA1DCF34E058}"/>
    </a:ext>
  </a:extLst>
</a:theme>
</file>

<file path=ppt/theme/theme3.xml><?xml version="1.0" encoding="utf-8"?>
<a:theme xmlns:a="http://schemas.openxmlformats.org/drawingml/2006/main" name="2020_MC_White (12-28-2020)">
  <a:themeElements>
    <a:clrScheme name="2020_MC_White">
      <a:dk1>
        <a:srgbClr val="FFFFFF"/>
      </a:dk1>
      <a:lt1>
        <a:srgbClr val="000000"/>
      </a:lt1>
      <a:dk2>
        <a:srgbClr val="D2D2D2"/>
      </a:dk2>
      <a:lt2>
        <a:srgbClr val="0057B8"/>
      </a:lt2>
      <a:accent1>
        <a:srgbClr val="009CDE"/>
      </a:accent1>
      <a:accent2>
        <a:srgbClr val="0057B8"/>
      </a:accent2>
      <a:accent3>
        <a:srgbClr val="00873E"/>
      </a:accent3>
      <a:accent4>
        <a:srgbClr val="8246AF"/>
      </a:accent4>
      <a:accent5>
        <a:srgbClr val="FE5000"/>
      </a:accent5>
      <a:accent6>
        <a:srgbClr val="FFC845"/>
      </a:accent6>
      <a:hlink>
        <a:srgbClr val="009CDE"/>
      </a:hlink>
      <a:folHlink>
        <a:srgbClr val="A8A8A8"/>
      </a:folHlink>
    </a:clrScheme>
    <a:fontScheme name="mc-white-widescre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c-white-widescree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163EECEE-9AD9-47BD-AD0C-330652D0BF78}" vid="{888C0A50-42BA-4B84-A72E-24202826D54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</TotalTime>
  <Words>1952</Words>
  <Application>Microsoft Office PowerPoint</Application>
  <PresentationFormat>Widescreen</PresentationFormat>
  <Paragraphs>392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1" baseType="lpstr">
      <vt:lpstr>Arial</vt:lpstr>
      <vt:lpstr>Arial Narrow</vt:lpstr>
      <vt:lpstr>Calibri</vt:lpstr>
      <vt:lpstr>Century Gothic</vt:lpstr>
      <vt:lpstr>Courier New</vt:lpstr>
      <vt:lpstr>Symbol</vt:lpstr>
      <vt:lpstr>Trebuchet MS</vt:lpstr>
      <vt:lpstr>Wingdings</vt:lpstr>
      <vt:lpstr>Bristol Myers Squibb</vt:lpstr>
      <vt:lpstr>1_Bristol Myers Squibb</vt:lpstr>
      <vt:lpstr>2020_MC_White (12-28-2020)</vt:lpstr>
      <vt:lpstr>think-cell Slide</vt:lpstr>
      <vt:lpstr>Del17p Data Set</vt:lpstr>
      <vt:lpstr>Current Sample status</vt:lpstr>
      <vt:lpstr>del17P Pilot Study* (n=12) </vt:lpstr>
      <vt:lpstr>Analysis Plan for WGS data</vt:lpstr>
      <vt:lpstr>Del17p cohort (Project 2)</vt:lpstr>
      <vt:lpstr>Baseline characteristics (n=58)</vt:lpstr>
      <vt:lpstr>Baseline characteristics (n=58)</vt:lpstr>
      <vt:lpstr>Baseline characteristics (n=58)</vt:lpstr>
      <vt:lpstr>OS for the entire cohort</vt:lpstr>
      <vt:lpstr>OS according to %abnormal nuclei in del17p</vt:lpstr>
      <vt:lpstr>OS according to treatment type</vt:lpstr>
      <vt:lpstr>Background</vt:lpstr>
      <vt:lpstr>CLL Journey and Clinical High-Risk segments</vt:lpstr>
      <vt:lpstr>Treatment algorithm</vt:lpstr>
      <vt:lpstr>CLL staging and prognostic factors</vt:lpstr>
      <vt:lpstr>1. Del17p/TP53 mutated population</vt:lpstr>
      <vt:lpstr>1. del17p Population –Unmet need with novel agents</vt:lpstr>
      <vt:lpstr>2.Post novel agent relapsed population</vt:lpstr>
      <vt:lpstr>What’s published in del17p CLL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Del17p/TP53 mutated population</dc:title>
  <dc:creator>Preeti Trisal</dc:creator>
  <cp:lastModifiedBy>Preeti Trisal</cp:lastModifiedBy>
  <cp:revision>9</cp:revision>
  <dcterms:created xsi:type="dcterms:W3CDTF">2021-11-15T20:15:12Z</dcterms:created>
  <dcterms:modified xsi:type="dcterms:W3CDTF">2021-11-17T15:36:34Z</dcterms:modified>
</cp:coreProperties>
</file>